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3.xml" ContentType="application/vnd.openxmlformats-officedocument.presentationml.tags+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4.xml" ContentType="application/vnd.openxmlformats-officedocument.presentationml.tags+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ags/tag5.xml" ContentType="application/vnd.openxmlformats-officedocument.presentationml.tags+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ags/tag6.xml" ContentType="application/vnd.openxmlformats-officedocument.presentationml.tags+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3" r:id="rId9"/>
    <p:sldId id="304" r:id="rId10"/>
    <p:sldId id="261" r:id="rId11"/>
    <p:sldId id="305"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276" r:id="rId34"/>
    <p:sldId id="274" r:id="rId35"/>
    <p:sldId id="275" r:id="rId36"/>
  </p:sldIdLst>
  <p:sldSz cx="12192000" cy="6858000"/>
  <p:notesSz cx="6858000" cy="9144000"/>
  <p:custDataLst>
    <p:tags r:id="rId3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2976" userDrawn="1">
          <p15:clr>
            <a:srgbClr val="A4A3A4"/>
          </p15:clr>
        </p15:guide>
        <p15:guide id="3" pos="7536" userDrawn="1">
          <p15:clr>
            <a:srgbClr val="A4A3A4"/>
          </p15:clr>
        </p15:guide>
        <p15:guide id="4" orient="horz" pos="4032" userDrawn="1">
          <p15:clr>
            <a:srgbClr val="A4A3A4"/>
          </p15:clr>
        </p15:guide>
        <p15:guide id="5" pos="96" userDrawn="1">
          <p15:clr>
            <a:srgbClr val="A4A3A4"/>
          </p15:clr>
        </p15:guide>
        <p15:guide id="6" pos="2856"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A816444-12AF-42CB-BCED-EC7E3492E202}" v="22" dt="2023-02-07T23:51:23.98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7" autoAdjust="0"/>
    <p:restoredTop sz="94660"/>
  </p:normalViewPr>
  <p:slideViewPr>
    <p:cSldViewPr snapToGrid="0" showGuides="1">
      <p:cViewPr varScale="1">
        <p:scale>
          <a:sx n="110" d="100"/>
          <a:sy n="110" d="100"/>
        </p:scale>
        <p:origin x="555" y="48"/>
      </p:cViewPr>
      <p:guideLst>
        <p:guide orient="horz" pos="648"/>
        <p:guide pos="2976"/>
        <p:guide pos="7536"/>
        <p:guide orient="horz" pos="4032"/>
        <p:guide pos="96"/>
        <p:guide pos="2856"/>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presProps" Target="presProps.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microsoft.com/office/2015/10/relationships/revisionInfo" Target="revisionInfo.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6/11/relationships/changesInfo" Target="changesInfos/changesInfo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tags" Target="tags/tag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984B092F-BABB-4ECA-959B-D420ECE85B68}"/>
    <pc:docChg chg="custSel modSld">
      <pc:chgData name="Roberto Gallardo" userId="49a044883f185952" providerId="LiveId" clId="{984B092F-BABB-4ECA-959B-D420ECE85B68}" dt="2023-02-06T00:06:29.016" v="551" actId="27918"/>
      <pc:docMkLst>
        <pc:docMk/>
      </pc:docMkLst>
      <pc:sldChg chg="modSp mod">
        <pc:chgData name="Roberto Gallardo" userId="49a044883f185952" providerId="LiveId" clId="{984B092F-BABB-4ECA-959B-D420ECE85B68}" dt="2023-02-05T22:58:20.090" v="22" actId="20577"/>
        <pc:sldMkLst>
          <pc:docMk/>
          <pc:sldMk cId="2846901679" sldId="256"/>
        </pc:sldMkLst>
        <pc:spChg chg="mod">
          <ac:chgData name="Roberto Gallardo" userId="49a044883f185952" providerId="LiveId" clId="{984B092F-BABB-4ECA-959B-D420ECE85B68}" dt="2023-02-05T22:58:20.090" v="22" actId="20577"/>
          <ac:spMkLst>
            <pc:docMk/>
            <pc:sldMk cId="2846901679" sldId="256"/>
            <ac:spMk id="7" creationId="{B1E0ABEC-554C-720A-2772-F0324C8E93CA}"/>
          </ac:spMkLst>
        </pc:spChg>
      </pc:sldChg>
      <pc:sldChg chg="mod">
        <pc:chgData name="Roberto Gallardo" userId="49a044883f185952" providerId="LiveId" clId="{984B092F-BABB-4ECA-959B-D420ECE85B68}" dt="2023-02-05T23:05:44.792" v="48" actId="27918"/>
        <pc:sldMkLst>
          <pc:docMk/>
          <pc:sldMk cId="3231157596" sldId="257"/>
        </pc:sldMkLst>
      </pc:sldChg>
      <pc:sldChg chg="modSp mod">
        <pc:chgData name="Roberto Gallardo" userId="49a044883f185952" providerId="LiveId" clId="{984B092F-BABB-4ECA-959B-D420ECE85B68}" dt="2023-02-05T23:02:37.856" v="36"/>
        <pc:sldMkLst>
          <pc:docMk/>
          <pc:sldMk cId="3702837515" sldId="258"/>
        </pc:sldMkLst>
        <pc:graphicFrameChg chg="mod">
          <ac:chgData name="Roberto Gallardo" userId="49a044883f185952" providerId="LiveId" clId="{984B092F-BABB-4ECA-959B-D420ECE85B68}" dt="2023-02-05T23:02:37.856" v="36"/>
          <ac:graphicFrameMkLst>
            <pc:docMk/>
            <pc:sldMk cId="3702837515" sldId="258"/>
            <ac:graphicFrameMk id="9" creationId="{A966EEC7-83EF-771C-E559-BAB55F5A621C}"/>
          </ac:graphicFrameMkLst>
        </pc:graphicFrameChg>
      </pc:sldChg>
      <pc:sldChg chg="mod">
        <pc:chgData name="Roberto Gallardo" userId="49a044883f185952" providerId="LiveId" clId="{984B092F-BABB-4ECA-959B-D420ECE85B68}" dt="2023-02-05T23:03:14.676" v="42" actId="27918"/>
        <pc:sldMkLst>
          <pc:docMk/>
          <pc:sldMk cId="2519083202" sldId="259"/>
        </pc:sldMkLst>
      </pc:sldChg>
      <pc:sldChg chg="mod">
        <pc:chgData name="Roberto Gallardo" userId="49a044883f185952" providerId="LiveId" clId="{984B092F-BABB-4ECA-959B-D420ECE85B68}" dt="2023-02-05T23:01:24.612" v="29" actId="27918"/>
        <pc:sldMkLst>
          <pc:docMk/>
          <pc:sldMk cId="3877078759" sldId="260"/>
        </pc:sldMkLst>
      </pc:sldChg>
      <pc:sldChg chg="mod">
        <pc:chgData name="Roberto Gallardo" userId="49a044883f185952" providerId="LiveId" clId="{984B092F-BABB-4ECA-959B-D420ECE85B68}" dt="2023-02-05T23:11:00.209" v="75" actId="27918"/>
        <pc:sldMkLst>
          <pc:docMk/>
          <pc:sldMk cId="1175010214" sldId="261"/>
        </pc:sldMkLst>
      </pc:sldChg>
      <pc:sldChg chg="addSp delSp modSp mod">
        <pc:chgData name="Roberto Gallardo" userId="49a044883f185952" providerId="LiveId" clId="{984B092F-BABB-4ECA-959B-D420ECE85B68}" dt="2023-02-05T23:14:52.112" v="109" actId="1076"/>
        <pc:sldMkLst>
          <pc:docMk/>
          <pc:sldMk cId="1418533539" sldId="271"/>
        </pc:sldMkLst>
        <pc:picChg chg="del">
          <ac:chgData name="Roberto Gallardo" userId="49a044883f185952" providerId="LiveId" clId="{984B092F-BABB-4ECA-959B-D420ECE85B68}" dt="2023-02-05T23:11:57.909" v="82" actId="478"/>
          <ac:picMkLst>
            <pc:docMk/>
            <pc:sldMk cId="1418533539" sldId="271"/>
            <ac:picMk id="6" creationId="{AA324F2A-B126-1213-F38B-7FC8BB6EC3B1}"/>
          </ac:picMkLst>
        </pc:picChg>
        <pc:picChg chg="add mod">
          <ac:chgData name="Roberto Gallardo" userId="49a044883f185952" providerId="LiveId" clId="{984B092F-BABB-4ECA-959B-D420ECE85B68}" dt="2023-02-05T23:14:52.112" v="109" actId="1076"/>
          <ac:picMkLst>
            <pc:docMk/>
            <pc:sldMk cId="1418533539" sldId="271"/>
            <ac:picMk id="7" creationId="{CF74D533-2D85-32B8-6A1F-30678252C584}"/>
          </ac:picMkLst>
        </pc:picChg>
      </pc:sldChg>
      <pc:sldChg chg="mod">
        <pc:chgData name="Roberto Gallardo" userId="49a044883f185952" providerId="LiveId" clId="{984B092F-BABB-4ECA-959B-D420ECE85B68}" dt="2023-02-05T23:07:43.867" v="54" actId="27918"/>
        <pc:sldMkLst>
          <pc:docMk/>
          <pc:sldMk cId="2653937722" sldId="272"/>
        </pc:sldMkLst>
      </pc:sldChg>
      <pc:sldChg chg="mod">
        <pc:chgData name="Roberto Gallardo" userId="49a044883f185952" providerId="LiveId" clId="{984B092F-BABB-4ECA-959B-D420ECE85B68}" dt="2023-02-06T00:03:24.874" v="451" actId="27918"/>
        <pc:sldMkLst>
          <pc:docMk/>
          <pc:sldMk cId="2076698419" sldId="273"/>
        </pc:sldMkLst>
      </pc:sldChg>
      <pc:sldChg chg="mod">
        <pc:chgData name="Roberto Gallardo" userId="49a044883f185952" providerId="LiveId" clId="{984B092F-BABB-4ECA-959B-D420ECE85B68}" dt="2023-02-06T00:06:02.992" v="547" actId="27918"/>
        <pc:sldMkLst>
          <pc:docMk/>
          <pc:sldMk cId="3802335161" sldId="274"/>
        </pc:sldMkLst>
      </pc:sldChg>
      <pc:sldChg chg="mod">
        <pc:chgData name="Roberto Gallardo" userId="49a044883f185952" providerId="LiveId" clId="{984B092F-BABB-4ECA-959B-D420ECE85B68}" dt="2023-02-06T00:06:29.016" v="551" actId="27918"/>
        <pc:sldMkLst>
          <pc:docMk/>
          <pc:sldMk cId="4292554322" sldId="275"/>
        </pc:sldMkLst>
      </pc:sldChg>
      <pc:sldChg chg="modSp mod">
        <pc:chgData name="Roberto Gallardo" userId="49a044883f185952" providerId="LiveId" clId="{984B092F-BABB-4ECA-959B-D420ECE85B68}" dt="2023-02-06T00:05:16.941" v="543" actId="20577"/>
        <pc:sldMkLst>
          <pc:docMk/>
          <pc:sldMk cId="513409896" sldId="276"/>
        </pc:sldMkLst>
        <pc:spChg chg="mod">
          <ac:chgData name="Roberto Gallardo" userId="49a044883f185952" providerId="LiveId" clId="{984B092F-BABB-4ECA-959B-D420ECE85B68}" dt="2023-02-06T00:05:16.941" v="543" actId="20577"/>
          <ac:spMkLst>
            <pc:docMk/>
            <pc:sldMk cId="513409896" sldId="276"/>
            <ac:spMk id="21" creationId="{9A68ADBE-AECC-EE60-7E94-3675B33E08AE}"/>
          </ac:spMkLst>
        </pc:spChg>
        <pc:cxnChg chg="mod">
          <ac:chgData name="Roberto Gallardo" userId="49a044883f185952" providerId="LiveId" clId="{984B092F-BABB-4ECA-959B-D420ECE85B68}" dt="2023-02-06T00:04:49.210" v="526" actId="1036"/>
          <ac:cxnSpMkLst>
            <pc:docMk/>
            <pc:sldMk cId="513409896" sldId="276"/>
            <ac:cxnSpMk id="22" creationId="{1B423FA0-E4B3-6570-929B-A9283D503787}"/>
          </ac:cxnSpMkLst>
        </pc:cxnChg>
        <pc:cxnChg chg="mod">
          <ac:chgData name="Roberto Gallardo" userId="49a044883f185952" providerId="LiveId" clId="{984B092F-BABB-4ECA-959B-D420ECE85B68}" dt="2023-02-06T00:04:34.567" v="489" actId="1036"/>
          <ac:cxnSpMkLst>
            <pc:docMk/>
            <pc:sldMk cId="513409896" sldId="276"/>
            <ac:cxnSpMk id="23" creationId="{D616797E-0044-3804-BA5A-23B8EB309CA5}"/>
          </ac:cxnSpMkLst>
        </pc:cxnChg>
        <pc:cxnChg chg="mod">
          <ac:chgData name="Roberto Gallardo" userId="49a044883f185952" providerId="LiveId" clId="{984B092F-BABB-4ECA-959B-D420ECE85B68}" dt="2023-02-06T00:05:03.092" v="539" actId="14100"/>
          <ac:cxnSpMkLst>
            <pc:docMk/>
            <pc:sldMk cId="513409896" sldId="276"/>
            <ac:cxnSpMk id="24" creationId="{20A6256E-6780-BAE0-B803-D02FE024579F}"/>
          </ac:cxnSpMkLst>
        </pc:cxnChg>
        <pc:cxnChg chg="mod">
          <ac:chgData name="Roberto Gallardo" userId="49a044883f185952" providerId="LiveId" clId="{984B092F-BABB-4ECA-959B-D420ECE85B68}" dt="2023-02-06T00:04:54.686" v="527" actId="14100"/>
          <ac:cxnSpMkLst>
            <pc:docMk/>
            <pc:sldMk cId="513409896" sldId="276"/>
            <ac:cxnSpMk id="25" creationId="{62B7492E-2C75-E0CD-947E-C582F412F7D7}"/>
          </ac:cxnSpMkLst>
        </pc:cxnChg>
      </pc:sldChg>
      <pc:sldChg chg="mod">
        <pc:chgData name="Roberto Gallardo" userId="49a044883f185952" providerId="LiveId" clId="{984B092F-BABB-4ECA-959B-D420ECE85B68}" dt="2023-02-06T00:02:53.265" v="446" actId="27918"/>
        <pc:sldMkLst>
          <pc:docMk/>
          <pc:sldMk cId="349244952" sldId="278"/>
        </pc:sldMkLst>
      </pc:sldChg>
      <pc:sldChg chg="addSp delSp modSp mod">
        <pc:chgData name="Roberto Gallardo" userId="49a044883f185952" providerId="LiveId" clId="{984B092F-BABB-4ECA-959B-D420ECE85B68}" dt="2023-02-05T23:24:37.321" v="203" actId="1076"/>
        <pc:sldMkLst>
          <pc:docMk/>
          <pc:sldMk cId="2124848710" sldId="281"/>
        </pc:sldMkLst>
        <pc:picChg chg="add mod">
          <ac:chgData name="Roberto Gallardo" userId="49a044883f185952" providerId="LiveId" clId="{984B092F-BABB-4ECA-959B-D420ECE85B68}" dt="2023-02-05T23:24:37.321" v="203" actId="1076"/>
          <ac:picMkLst>
            <pc:docMk/>
            <pc:sldMk cId="2124848710" sldId="281"/>
            <ac:picMk id="5" creationId="{48719103-E2CA-CC6F-A9D3-6D2BD284EC6D}"/>
          </ac:picMkLst>
        </pc:picChg>
        <pc:picChg chg="del">
          <ac:chgData name="Roberto Gallardo" userId="49a044883f185952" providerId="LiveId" clId="{984B092F-BABB-4ECA-959B-D420ECE85B68}" dt="2023-02-05T23:12:22.794" v="88" actId="478"/>
          <ac:picMkLst>
            <pc:docMk/>
            <pc:sldMk cId="2124848710" sldId="281"/>
            <ac:picMk id="8" creationId="{B2C7F90E-076E-E7F4-6353-0557D09C4DB8}"/>
          </ac:picMkLst>
        </pc:picChg>
      </pc:sldChg>
      <pc:sldChg chg="addSp delSp modSp mod">
        <pc:chgData name="Roberto Gallardo" userId="49a044883f185952" providerId="LiveId" clId="{984B092F-BABB-4ECA-959B-D420ECE85B68}" dt="2023-02-05T23:26:19.743" v="221" actId="1076"/>
        <pc:sldMkLst>
          <pc:docMk/>
          <pc:sldMk cId="2028175529" sldId="282"/>
        </pc:sldMkLst>
        <pc:picChg chg="del">
          <ac:chgData name="Roberto Gallardo" userId="49a044883f185952" providerId="LiveId" clId="{984B092F-BABB-4ECA-959B-D420ECE85B68}" dt="2023-02-05T23:12:25.937" v="89" actId="478"/>
          <ac:picMkLst>
            <pc:docMk/>
            <pc:sldMk cId="2028175529" sldId="282"/>
            <ac:picMk id="5" creationId="{260C7A0C-0951-FADF-30D5-25F9F86F74C3}"/>
          </ac:picMkLst>
        </pc:picChg>
        <pc:picChg chg="add mod">
          <ac:chgData name="Roberto Gallardo" userId="49a044883f185952" providerId="LiveId" clId="{984B092F-BABB-4ECA-959B-D420ECE85B68}" dt="2023-02-05T23:26:19.743" v="221" actId="1076"/>
          <ac:picMkLst>
            <pc:docMk/>
            <pc:sldMk cId="2028175529" sldId="282"/>
            <ac:picMk id="8" creationId="{CFE023EC-0FF0-6406-85A7-175F15D08D2F}"/>
          </ac:picMkLst>
        </pc:picChg>
      </pc:sldChg>
      <pc:sldChg chg="addSp delSp modSp mod">
        <pc:chgData name="Roberto Gallardo" userId="49a044883f185952" providerId="LiveId" clId="{984B092F-BABB-4ECA-959B-D420ECE85B68}" dt="2023-02-05T23:28:08.555" v="242" actId="1076"/>
        <pc:sldMkLst>
          <pc:docMk/>
          <pc:sldMk cId="1326517747" sldId="283"/>
        </pc:sldMkLst>
        <pc:picChg chg="del">
          <ac:chgData name="Roberto Gallardo" userId="49a044883f185952" providerId="LiveId" clId="{984B092F-BABB-4ECA-959B-D420ECE85B68}" dt="2023-02-05T23:12:31.477" v="90" actId="478"/>
          <ac:picMkLst>
            <pc:docMk/>
            <pc:sldMk cId="1326517747" sldId="283"/>
            <ac:picMk id="5" creationId="{D5820370-CCF1-A1EF-BE00-D7215C0A77FB}"/>
          </ac:picMkLst>
        </pc:picChg>
        <pc:picChg chg="add mod">
          <ac:chgData name="Roberto Gallardo" userId="49a044883f185952" providerId="LiveId" clId="{984B092F-BABB-4ECA-959B-D420ECE85B68}" dt="2023-02-05T23:28:08.555" v="242" actId="1076"/>
          <ac:picMkLst>
            <pc:docMk/>
            <pc:sldMk cId="1326517747" sldId="283"/>
            <ac:picMk id="8" creationId="{9A29E625-A19A-7665-D4A2-F80734D2096C}"/>
          </ac:picMkLst>
        </pc:picChg>
      </pc:sldChg>
      <pc:sldChg chg="addSp delSp modSp mod">
        <pc:chgData name="Roberto Gallardo" userId="49a044883f185952" providerId="LiveId" clId="{984B092F-BABB-4ECA-959B-D420ECE85B68}" dt="2023-02-05T23:29:33.410" v="260" actId="1076"/>
        <pc:sldMkLst>
          <pc:docMk/>
          <pc:sldMk cId="783739251" sldId="284"/>
        </pc:sldMkLst>
        <pc:picChg chg="del">
          <ac:chgData name="Roberto Gallardo" userId="49a044883f185952" providerId="LiveId" clId="{984B092F-BABB-4ECA-959B-D420ECE85B68}" dt="2023-02-05T23:12:34.762" v="91" actId="478"/>
          <ac:picMkLst>
            <pc:docMk/>
            <pc:sldMk cId="783739251" sldId="284"/>
            <ac:picMk id="5" creationId="{51A0082B-6724-5BA2-83DB-9E6F050C4194}"/>
          </ac:picMkLst>
        </pc:picChg>
        <pc:picChg chg="add mod">
          <ac:chgData name="Roberto Gallardo" userId="49a044883f185952" providerId="LiveId" clId="{984B092F-BABB-4ECA-959B-D420ECE85B68}" dt="2023-02-05T23:29:33.410" v="260" actId="1076"/>
          <ac:picMkLst>
            <pc:docMk/>
            <pc:sldMk cId="783739251" sldId="284"/>
            <ac:picMk id="8" creationId="{63CDE078-CCBF-8497-C770-4245D0782293}"/>
          </ac:picMkLst>
        </pc:picChg>
      </pc:sldChg>
      <pc:sldChg chg="addSp delSp modSp mod">
        <pc:chgData name="Roberto Gallardo" userId="49a044883f185952" providerId="LiveId" clId="{984B092F-BABB-4ECA-959B-D420ECE85B68}" dt="2023-02-05T23:31:07.189" v="278" actId="1076"/>
        <pc:sldMkLst>
          <pc:docMk/>
          <pc:sldMk cId="1676122233" sldId="285"/>
        </pc:sldMkLst>
        <pc:picChg chg="del">
          <ac:chgData name="Roberto Gallardo" userId="49a044883f185952" providerId="LiveId" clId="{984B092F-BABB-4ECA-959B-D420ECE85B68}" dt="2023-02-05T23:12:38.193" v="92" actId="478"/>
          <ac:picMkLst>
            <pc:docMk/>
            <pc:sldMk cId="1676122233" sldId="285"/>
            <ac:picMk id="5" creationId="{530164EF-188D-6031-69E1-DAEB594BD715}"/>
          </ac:picMkLst>
        </pc:picChg>
        <pc:picChg chg="add mod">
          <ac:chgData name="Roberto Gallardo" userId="49a044883f185952" providerId="LiveId" clId="{984B092F-BABB-4ECA-959B-D420ECE85B68}" dt="2023-02-05T23:31:07.189" v="278" actId="1076"/>
          <ac:picMkLst>
            <pc:docMk/>
            <pc:sldMk cId="1676122233" sldId="285"/>
            <ac:picMk id="8" creationId="{301A97BC-685B-5788-F49B-36F9BF8D7A6A}"/>
          </ac:picMkLst>
        </pc:picChg>
      </pc:sldChg>
      <pc:sldChg chg="addSp delSp modSp mod">
        <pc:chgData name="Roberto Gallardo" userId="49a044883f185952" providerId="LiveId" clId="{984B092F-BABB-4ECA-959B-D420ECE85B68}" dt="2023-02-05T23:33:29.325" v="295" actId="1076"/>
        <pc:sldMkLst>
          <pc:docMk/>
          <pc:sldMk cId="3100398757" sldId="286"/>
        </pc:sldMkLst>
        <pc:picChg chg="del">
          <ac:chgData name="Roberto Gallardo" userId="49a044883f185952" providerId="LiveId" clId="{984B092F-BABB-4ECA-959B-D420ECE85B68}" dt="2023-02-05T23:12:41.729" v="93" actId="478"/>
          <ac:picMkLst>
            <pc:docMk/>
            <pc:sldMk cId="3100398757" sldId="286"/>
            <ac:picMk id="5" creationId="{81384F42-FB82-8586-B860-364340637A94}"/>
          </ac:picMkLst>
        </pc:picChg>
        <pc:picChg chg="add mod">
          <ac:chgData name="Roberto Gallardo" userId="49a044883f185952" providerId="LiveId" clId="{984B092F-BABB-4ECA-959B-D420ECE85B68}" dt="2023-02-05T23:33:29.325" v="295" actId="1076"/>
          <ac:picMkLst>
            <pc:docMk/>
            <pc:sldMk cId="3100398757" sldId="286"/>
            <ac:picMk id="8" creationId="{1B94F364-0690-10E3-7A2A-1C3CCDD3C930}"/>
          </ac:picMkLst>
        </pc:picChg>
      </pc:sldChg>
      <pc:sldChg chg="addSp delSp modSp mod">
        <pc:chgData name="Roberto Gallardo" userId="49a044883f185952" providerId="LiveId" clId="{984B092F-BABB-4ECA-959B-D420ECE85B68}" dt="2023-02-05T23:35:12.725" v="315" actId="1076"/>
        <pc:sldMkLst>
          <pc:docMk/>
          <pc:sldMk cId="1546475425" sldId="287"/>
        </pc:sldMkLst>
        <pc:picChg chg="del">
          <ac:chgData name="Roberto Gallardo" userId="49a044883f185952" providerId="LiveId" clId="{984B092F-BABB-4ECA-959B-D420ECE85B68}" dt="2023-02-05T23:12:45.416" v="94" actId="478"/>
          <ac:picMkLst>
            <pc:docMk/>
            <pc:sldMk cId="1546475425" sldId="287"/>
            <ac:picMk id="5" creationId="{9E9D876E-9747-F78D-891D-F8A446A515CF}"/>
          </ac:picMkLst>
        </pc:picChg>
        <pc:picChg chg="add mod">
          <ac:chgData name="Roberto Gallardo" userId="49a044883f185952" providerId="LiveId" clId="{984B092F-BABB-4ECA-959B-D420ECE85B68}" dt="2023-02-05T23:35:12.725" v="315" actId="1076"/>
          <ac:picMkLst>
            <pc:docMk/>
            <pc:sldMk cId="1546475425" sldId="287"/>
            <ac:picMk id="8" creationId="{CAA855F8-29C0-6C54-C3A3-891AD3FBAC60}"/>
          </ac:picMkLst>
        </pc:picChg>
      </pc:sldChg>
      <pc:sldChg chg="addSp delSp modSp mod">
        <pc:chgData name="Roberto Gallardo" userId="49a044883f185952" providerId="LiveId" clId="{984B092F-BABB-4ECA-959B-D420ECE85B68}" dt="2023-02-05T23:38:33.800" v="351" actId="1076"/>
        <pc:sldMkLst>
          <pc:docMk/>
          <pc:sldMk cId="1380517306" sldId="288"/>
        </pc:sldMkLst>
        <pc:picChg chg="del">
          <ac:chgData name="Roberto Gallardo" userId="49a044883f185952" providerId="LiveId" clId="{984B092F-BABB-4ECA-959B-D420ECE85B68}" dt="2023-02-05T23:12:53.882" v="96" actId="478"/>
          <ac:picMkLst>
            <pc:docMk/>
            <pc:sldMk cId="1380517306" sldId="288"/>
            <ac:picMk id="5" creationId="{B56955DC-09E5-145F-D5EA-7A4828711AD9}"/>
          </ac:picMkLst>
        </pc:picChg>
        <pc:picChg chg="add mod">
          <ac:chgData name="Roberto Gallardo" userId="49a044883f185952" providerId="LiveId" clId="{984B092F-BABB-4ECA-959B-D420ECE85B68}" dt="2023-02-05T23:38:33.800" v="351" actId="1076"/>
          <ac:picMkLst>
            <pc:docMk/>
            <pc:sldMk cId="1380517306" sldId="288"/>
            <ac:picMk id="8" creationId="{1269BCA3-CB6D-5913-CFF9-17C7374E8DE0}"/>
          </ac:picMkLst>
        </pc:picChg>
      </pc:sldChg>
      <pc:sldChg chg="addSp delSp modSp mod">
        <pc:chgData name="Roberto Gallardo" userId="49a044883f185952" providerId="LiveId" clId="{984B092F-BABB-4ECA-959B-D420ECE85B68}" dt="2023-02-05T23:41:10.344" v="375" actId="1076"/>
        <pc:sldMkLst>
          <pc:docMk/>
          <pc:sldMk cId="1388671151" sldId="289"/>
        </pc:sldMkLst>
        <pc:picChg chg="del">
          <ac:chgData name="Roberto Gallardo" userId="49a044883f185952" providerId="LiveId" clId="{984B092F-BABB-4ECA-959B-D420ECE85B68}" dt="2023-02-05T23:12:57.100" v="97" actId="478"/>
          <ac:picMkLst>
            <pc:docMk/>
            <pc:sldMk cId="1388671151" sldId="289"/>
            <ac:picMk id="5" creationId="{D914859F-2C47-69E5-C8E5-153B565AD678}"/>
          </ac:picMkLst>
        </pc:picChg>
        <pc:picChg chg="add mod">
          <ac:chgData name="Roberto Gallardo" userId="49a044883f185952" providerId="LiveId" clId="{984B092F-BABB-4ECA-959B-D420ECE85B68}" dt="2023-02-05T23:41:10.344" v="375" actId="1076"/>
          <ac:picMkLst>
            <pc:docMk/>
            <pc:sldMk cId="1388671151" sldId="289"/>
            <ac:picMk id="8" creationId="{6D17C1DE-5762-AC51-F9BA-92346D9A815C}"/>
          </ac:picMkLst>
        </pc:picChg>
      </pc:sldChg>
      <pc:sldChg chg="addSp delSp modSp mod">
        <pc:chgData name="Roberto Gallardo" userId="49a044883f185952" providerId="LiveId" clId="{984B092F-BABB-4ECA-959B-D420ECE85B68}" dt="2023-02-06T00:00:07.023" v="425" actId="1038"/>
        <pc:sldMkLst>
          <pc:docMk/>
          <pc:sldMk cId="2355376039" sldId="290"/>
        </pc:sldMkLst>
        <pc:picChg chg="add mod">
          <ac:chgData name="Roberto Gallardo" userId="49a044883f185952" providerId="LiveId" clId="{984B092F-BABB-4ECA-959B-D420ECE85B68}" dt="2023-02-06T00:00:07.023" v="425" actId="1038"/>
          <ac:picMkLst>
            <pc:docMk/>
            <pc:sldMk cId="2355376039" sldId="290"/>
            <ac:picMk id="8" creationId="{5DA0350F-FE6D-53CB-2AFD-AA6A8980488E}"/>
          </ac:picMkLst>
        </pc:picChg>
        <pc:picChg chg="del">
          <ac:chgData name="Roberto Gallardo" userId="49a044883f185952" providerId="LiveId" clId="{984B092F-BABB-4ECA-959B-D420ECE85B68}" dt="2023-02-05T23:13:04.913" v="99" actId="478"/>
          <ac:picMkLst>
            <pc:docMk/>
            <pc:sldMk cId="2355376039" sldId="290"/>
            <ac:picMk id="9" creationId="{FBDED459-655E-6F8F-68B1-AF4AA58F1F84}"/>
          </ac:picMkLst>
        </pc:picChg>
      </pc:sldChg>
      <pc:sldChg chg="addSp delSp modSp mod">
        <pc:chgData name="Roberto Gallardo" userId="49a044883f185952" providerId="LiveId" clId="{984B092F-BABB-4ECA-959B-D420ECE85B68}" dt="2023-02-06T00:01:39.251" v="442" actId="1076"/>
        <pc:sldMkLst>
          <pc:docMk/>
          <pc:sldMk cId="3757257295" sldId="291"/>
        </pc:sldMkLst>
        <pc:picChg chg="del">
          <ac:chgData name="Roberto Gallardo" userId="49a044883f185952" providerId="LiveId" clId="{984B092F-BABB-4ECA-959B-D420ECE85B68}" dt="2023-02-05T23:13:09.677" v="100" actId="478"/>
          <ac:picMkLst>
            <pc:docMk/>
            <pc:sldMk cId="3757257295" sldId="291"/>
            <ac:picMk id="7" creationId="{A8C2B9C6-FE6E-6FFB-23EF-BFF18FD3ADBC}"/>
          </ac:picMkLst>
        </pc:picChg>
        <pc:picChg chg="add mod">
          <ac:chgData name="Roberto Gallardo" userId="49a044883f185952" providerId="LiveId" clId="{984B092F-BABB-4ECA-959B-D420ECE85B68}" dt="2023-02-06T00:01:39.251" v="442" actId="1076"/>
          <ac:picMkLst>
            <pc:docMk/>
            <pc:sldMk cId="3757257295" sldId="291"/>
            <ac:picMk id="8" creationId="{AEE7ABCB-D0B0-3A13-45A8-D2CBAAA77EA6}"/>
          </ac:picMkLst>
        </pc:picChg>
      </pc:sldChg>
      <pc:sldChg chg="addSp delSp modSp mod">
        <pc:chgData name="Roberto Gallardo" userId="49a044883f185952" providerId="LiveId" clId="{984B092F-BABB-4ECA-959B-D420ECE85B68}" dt="2023-02-05T23:36:52.771" v="331" actId="1076"/>
        <pc:sldMkLst>
          <pc:docMk/>
          <pc:sldMk cId="1259856727" sldId="292"/>
        </pc:sldMkLst>
        <pc:picChg chg="del">
          <ac:chgData name="Roberto Gallardo" userId="49a044883f185952" providerId="LiveId" clId="{984B092F-BABB-4ECA-959B-D420ECE85B68}" dt="2023-02-05T23:12:50.830" v="95" actId="478"/>
          <ac:picMkLst>
            <pc:docMk/>
            <pc:sldMk cId="1259856727" sldId="292"/>
            <ac:picMk id="5" creationId="{B48EF86A-52C3-AB58-168F-16F2880765DB}"/>
          </ac:picMkLst>
        </pc:picChg>
        <pc:picChg chg="add mod">
          <ac:chgData name="Roberto Gallardo" userId="49a044883f185952" providerId="LiveId" clId="{984B092F-BABB-4ECA-959B-D420ECE85B68}" dt="2023-02-05T23:36:52.771" v="331" actId="1076"/>
          <ac:picMkLst>
            <pc:docMk/>
            <pc:sldMk cId="1259856727" sldId="292"/>
            <ac:picMk id="8" creationId="{CF00FD28-5E38-7692-A3B9-F2069E86DAA8}"/>
          </ac:picMkLst>
        </pc:picChg>
      </pc:sldChg>
      <pc:sldChg chg="addSp delSp modSp mod">
        <pc:chgData name="Roberto Gallardo" userId="49a044883f185952" providerId="LiveId" clId="{984B092F-BABB-4ECA-959B-D420ECE85B68}" dt="2023-02-05T23:22:39.001" v="186" actId="1076"/>
        <pc:sldMkLst>
          <pc:docMk/>
          <pc:sldMk cId="3324519687" sldId="293"/>
        </pc:sldMkLst>
        <pc:picChg chg="del">
          <ac:chgData name="Roberto Gallardo" userId="49a044883f185952" providerId="LiveId" clId="{984B092F-BABB-4ECA-959B-D420ECE85B68}" dt="2023-02-05T23:12:18.094" v="87" actId="478"/>
          <ac:picMkLst>
            <pc:docMk/>
            <pc:sldMk cId="3324519687" sldId="293"/>
            <ac:picMk id="7" creationId="{A60F00B6-02AC-6AA9-3D46-B7D23CB693CF}"/>
          </ac:picMkLst>
        </pc:picChg>
        <pc:picChg chg="add mod">
          <ac:chgData name="Roberto Gallardo" userId="49a044883f185952" providerId="LiveId" clId="{984B092F-BABB-4ECA-959B-D420ECE85B68}" dt="2023-02-05T23:22:39.001" v="186" actId="1076"/>
          <ac:picMkLst>
            <pc:docMk/>
            <pc:sldMk cId="3324519687" sldId="293"/>
            <ac:picMk id="9" creationId="{857220EB-001E-BBC5-093B-8C24596738CE}"/>
          </ac:picMkLst>
        </pc:picChg>
      </pc:sldChg>
      <pc:sldChg chg="addSp delSp modSp mod">
        <pc:chgData name="Roberto Gallardo" userId="49a044883f185952" providerId="LiveId" clId="{984B092F-BABB-4ECA-959B-D420ECE85B68}" dt="2023-02-05T23:18:44.415" v="149" actId="1076"/>
        <pc:sldMkLst>
          <pc:docMk/>
          <pc:sldMk cId="3256182630" sldId="295"/>
        </pc:sldMkLst>
        <pc:picChg chg="add mod">
          <ac:chgData name="Roberto Gallardo" userId="49a044883f185952" providerId="LiveId" clId="{984B092F-BABB-4ECA-959B-D420ECE85B68}" dt="2023-02-05T23:18:44.415" v="149" actId="1076"/>
          <ac:picMkLst>
            <pc:docMk/>
            <pc:sldMk cId="3256182630" sldId="295"/>
            <ac:picMk id="6" creationId="{93D8D6F0-D0A9-FCE5-B024-33062FB98A83}"/>
          </ac:picMkLst>
        </pc:picChg>
        <pc:picChg chg="del">
          <ac:chgData name="Roberto Gallardo" userId="49a044883f185952" providerId="LiveId" clId="{984B092F-BABB-4ECA-959B-D420ECE85B68}" dt="2023-02-05T23:12:09.606" v="85" actId="478"/>
          <ac:picMkLst>
            <pc:docMk/>
            <pc:sldMk cId="3256182630" sldId="295"/>
            <ac:picMk id="7" creationId="{F5F485D3-05AE-5D7F-37DB-43ABCEBD3703}"/>
          </ac:picMkLst>
        </pc:picChg>
      </pc:sldChg>
      <pc:sldChg chg="addSp delSp modSp mod">
        <pc:chgData name="Roberto Gallardo" userId="49a044883f185952" providerId="LiveId" clId="{984B092F-BABB-4ECA-959B-D420ECE85B68}" dt="2023-02-05T23:20:30.670" v="169" actId="1076"/>
        <pc:sldMkLst>
          <pc:docMk/>
          <pc:sldMk cId="4057156843" sldId="296"/>
        </pc:sldMkLst>
        <pc:picChg chg="del">
          <ac:chgData name="Roberto Gallardo" userId="49a044883f185952" providerId="LiveId" clId="{984B092F-BABB-4ECA-959B-D420ECE85B68}" dt="2023-02-05T23:12:14.346" v="86" actId="478"/>
          <ac:picMkLst>
            <pc:docMk/>
            <pc:sldMk cId="4057156843" sldId="296"/>
            <ac:picMk id="6" creationId="{C8B8A69D-FF68-B96E-56CB-FCCDC75BF626}"/>
          </ac:picMkLst>
        </pc:picChg>
        <pc:picChg chg="add mod">
          <ac:chgData name="Roberto Gallardo" userId="49a044883f185952" providerId="LiveId" clId="{984B092F-BABB-4ECA-959B-D420ECE85B68}" dt="2023-02-05T23:20:30.670" v="169" actId="1076"/>
          <ac:picMkLst>
            <pc:docMk/>
            <pc:sldMk cId="4057156843" sldId="296"/>
            <ac:picMk id="7" creationId="{98D345FF-36E0-779A-A6AA-657BDCF6BCE3}"/>
          </ac:picMkLst>
        </pc:picChg>
      </pc:sldChg>
      <pc:sldChg chg="addSp delSp modSp mod">
        <pc:chgData name="Roberto Gallardo" userId="49a044883f185952" providerId="LiveId" clId="{984B092F-BABB-4ECA-959B-D420ECE85B68}" dt="2023-02-05T23:16:21.034" v="132" actId="1076"/>
        <pc:sldMkLst>
          <pc:docMk/>
          <pc:sldMk cId="2080110827" sldId="297"/>
        </pc:sldMkLst>
        <pc:picChg chg="del">
          <ac:chgData name="Roberto Gallardo" userId="49a044883f185952" providerId="LiveId" clId="{984B092F-BABB-4ECA-959B-D420ECE85B68}" dt="2023-02-05T23:12:05.995" v="84" actId="478"/>
          <ac:picMkLst>
            <pc:docMk/>
            <pc:sldMk cId="2080110827" sldId="297"/>
            <ac:picMk id="6" creationId="{1889EED2-D6E5-E4E3-73B3-31E3AF9615E2}"/>
          </ac:picMkLst>
        </pc:picChg>
        <pc:picChg chg="add mod">
          <ac:chgData name="Roberto Gallardo" userId="49a044883f185952" providerId="LiveId" clId="{984B092F-BABB-4ECA-959B-D420ECE85B68}" dt="2023-02-05T23:16:21.034" v="132" actId="1076"/>
          <ac:picMkLst>
            <pc:docMk/>
            <pc:sldMk cId="2080110827" sldId="297"/>
            <ac:picMk id="7" creationId="{FA7AA24C-289D-D5F1-A79D-1877B250B48C}"/>
          </ac:picMkLst>
        </pc:picChg>
      </pc:sldChg>
      <pc:sldChg chg="addSp delSp modSp mod">
        <pc:chgData name="Roberto Gallardo" userId="49a044883f185952" providerId="LiveId" clId="{984B092F-BABB-4ECA-959B-D420ECE85B68}" dt="2023-02-05T23:15:32.929" v="122" actId="1035"/>
        <pc:sldMkLst>
          <pc:docMk/>
          <pc:sldMk cId="1532666867" sldId="298"/>
        </pc:sldMkLst>
        <pc:picChg chg="add mod">
          <ac:chgData name="Roberto Gallardo" userId="49a044883f185952" providerId="LiveId" clId="{984B092F-BABB-4ECA-959B-D420ECE85B68}" dt="2023-02-05T23:15:32.929" v="122" actId="1035"/>
          <ac:picMkLst>
            <pc:docMk/>
            <pc:sldMk cId="1532666867" sldId="298"/>
            <ac:picMk id="6" creationId="{DF76BE9D-2515-C01B-6750-0A70245BBEC0}"/>
          </ac:picMkLst>
        </pc:picChg>
        <pc:picChg chg="del">
          <ac:chgData name="Roberto Gallardo" userId="49a044883f185952" providerId="LiveId" clId="{984B092F-BABB-4ECA-959B-D420ECE85B68}" dt="2023-02-05T23:12:02.951" v="83" actId="478"/>
          <ac:picMkLst>
            <pc:docMk/>
            <pc:sldMk cId="1532666867" sldId="298"/>
            <ac:picMk id="7" creationId="{EC553BCD-1BFE-BD14-331F-7EFEA6532C3B}"/>
          </ac:picMkLst>
        </pc:picChg>
      </pc:sldChg>
      <pc:sldChg chg="addSp delSp modSp mod">
        <pc:chgData name="Roberto Gallardo" userId="49a044883f185952" providerId="LiveId" clId="{984B092F-BABB-4ECA-959B-D420ECE85B68}" dt="2023-02-05T23:58:30.984" v="391" actId="1076"/>
        <pc:sldMkLst>
          <pc:docMk/>
          <pc:sldMk cId="1951376777" sldId="299"/>
        </pc:sldMkLst>
        <pc:picChg chg="add mod">
          <ac:chgData name="Roberto Gallardo" userId="49a044883f185952" providerId="LiveId" clId="{984B092F-BABB-4ECA-959B-D420ECE85B68}" dt="2023-02-05T23:58:30.984" v="391" actId="1076"/>
          <ac:picMkLst>
            <pc:docMk/>
            <pc:sldMk cId="1951376777" sldId="299"/>
            <ac:picMk id="5" creationId="{B3B698FB-4AEA-CDBC-DBD6-2BFDA8D589E3}"/>
          </ac:picMkLst>
        </pc:picChg>
        <pc:picChg chg="del">
          <ac:chgData name="Roberto Gallardo" userId="49a044883f185952" providerId="LiveId" clId="{984B092F-BABB-4ECA-959B-D420ECE85B68}" dt="2023-02-05T23:13:01.375" v="98" actId="478"/>
          <ac:picMkLst>
            <pc:docMk/>
            <pc:sldMk cId="1951376777" sldId="299"/>
            <ac:picMk id="8" creationId="{E81B59CA-9234-ED7C-9930-EBA794BB9820}"/>
          </ac:picMkLst>
        </pc:picChg>
      </pc:sldChg>
      <pc:sldChg chg="mod">
        <pc:chgData name="Roberto Gallardo" userId="49a044883f185952" providerId="LiveId" clId="{984B092F-BABB-4ECA-959B-D420ECE85B68}" dt="2023-02-05T23:08:25.184" v="60" actId="27918"/>
        <pc:sldMkLst>
          <pc:docMk/>
          <pc:sldMk cId="2841628872" sldId="303"/>
        </pc:sldMkLst>
      </pc:sldChg>
      <pc:sldChg chg="mod">
        <pc:chgData name="Roberto Gallardo" userId="49a044883f185952" providerId="LiveId" clId="{984B092F-BABB-4ECA-959B-D420ECE85B68}" dt="2023-02-05T23:10:07.378" v="66" actId="27918"/>
        <pc:sldMkLst>
          <pc:docMk/>
          <pc:sldMk cId="3084076302" sldId="304"/>
        </pc:sldMkLst>
      </pc:sldChg>
      <pc:sldChg chg="mod">
        <pc:chgData name="Roberto Gallardo" userId="49a044883f185952" providerId="LiveId" clId="{984B092F-BABB-4ECA-959B-D420ECE85B68}" dt="2023-02-05T23:11:43.532" v="81" actId="27918"/>
        <pc:sldMkLst>
          <pc:docMk/>
          <pc:sldMk cId="473712435" sldId="305"/>
        </pc:sldMkLst>
      </pc:sldChg>
    </pc:docChg>
  </pc:docChgLst>
  <pc:docChgLst>
    <pc:chgData name="Roberto Gallardo" userId="49a044883f185952" providerId="LiveId" clId="{3DF3007B-9C7A-4F8C-96B1-A9A15E037881}"/>
    <pc:docChg chg="undo custSel addSld delSld modSld">
      <pc:chgData name="Roberto Gallardo" userId="49a044883f185952" providerId="LiveId" clId="{3DF3007B-9C7A-4F8C-96B1-A9A15E037881}" dt="2023-01-15T16:51:15.895" v="1396" actId="47"/>
      <pc:docMkLst>
        <pc:docMk/>
      </pc:docMkLst>
      <pc:sldChg chg="modSp mod">
        <pc:chgData name="Roberto Gallardo" userId="49a044883f185952" providerId="LiveId" clId="{3DF3007B-9C7A-4F8C-96B1-A9A15E037881}" dt="2023-01-14T15:21:31.948" v="16" actId="6549"/>
        <pc:sldMkLst>
          <pc:docMk/>
          <pc:sldMk cId="2846901679" sldId="256"/>
        </pc:sldMkLst>
        <pc:spChg chg="mod">
          <ac:chgData name="Roberto Gallardo" userId="49a044883f185952" providerId="LiveId" clId="{3DF3007B-9C7A-4F8C-96B1-A9A15E037881}" dt="2023-01-14T15:21:31.948" v="16" actId="6549"/>
          <ac:spMkLst>
            <pc:docMk/>
            <pc:sldMk cId="2846901679" sldId="256"/>
            <ac:spMk id="7" creationId="{B1E0ABEC-554C-720A-2772-F0324C8E93CA}"/>
          </ac:spMkLst>
        </pc:spChg>
      </pc:sldChg>
      <pc:sldChg chg="mod">
        <pc:chgData name="Roberto Gallardo" userId="49a044883f185952" providerId="LiveId" clId="{3DF3007B-9C7A-4F8C-96B1-A9A15E037881}" dt="2023-01-14T15:24:33.976" v="40" actId="27918"/>
        <pc:sldMkLst>
          <pc:docMk/>
          <pc:sldMk cId="3231157596" sldId="257"/>
        </pc:sldMkLst>
      </pc:sldChg>
      <pc:sldChg chg="mod">
        <pc:chgData name="Roberto Gallardo" userId="49a044883f185952" providerId="LiveId" clId="{3DF3007B-9C7A-4F8C-96B1-A9A15E037881}" dt="2023-01-14T15:23:19.723" v="28" actId="27918"/>
        <pc:sldMkLst>
          <pc:docMk/>
          <pc:sldMk cId="3702837515" sldId="258"/>
        </pc:sldMkLst>
      </pc:sldChg>
      <pc:sldChg chg="mod">
        <pc:chgData name="Roberto Gallardo" userId="49a044883f185952" providerId="LiveId" clId="{3DF3007B-9C7A-4F8C-96B1-A9A15E037881}" dt="2023-01-14T15:23:53.414" v="34" actId="27918"/>
        <pc:sldMkLst>
          <pc:docMk/>
          <pc:sldMk cId="2519083202" sldId="259"/>
        </pc:sldMkLst>
      </pc:sldChg>
      <pc:sldChg chg="mod">
        <pc:chgData name="Roberto Gallardo" userId="49a044883f185952" providerId="LiveId" clId="{3DF3007B-9C7A-4F8C-96B1-A9A15E037881}" dt="2023-01-14T15:22:26.974" v="22" actId="27918"/>
        <pc:sldMkLst>
          <pc:docMk/>
          <pc:sldMk cId="3877078759" sldId="260"/>
        </pc:sldMkLst>
      </pc:sldChg>
      <pc:sldChg chg="mod">
        <pc:chgData name="Roberto Gallardo" userId="49a044883f185952" providerId="LiveId" clId="{3DF3007B-9C7A-4F8C-96B1-A9A15E037881}" dt="2023-01-14T15:25:55.685" v="52" actId="27918"/>
        <pc:sldMkLst>
          <pc:docMk/>
          <pc:sldMk cId="1175010214" sldId="261"/>
        </pc:sldMkLst>
      </pc:sldChg>
      <pc:sldChg chg="addSp delSp modSp mod">
        <pc:chgData name="Roberto Gallardo" userId="49a044883f185952" providerId="LiveId" clId="{3DF3007B-9C7A-4F8C-96B1-A9A15E037881}" dt="2023-01-14T15:26:27.256" v="60" actId="1076"/>
        <pc:sldMkLst>
          <pc:docMk/>
          <pc:sldMk cId="1418533539" sldId="271"/>
        </pc:sldMkLst>
        <pc:picChg chg="add mod">
          <ac:chgData name="Roberto Gallardo" userId="49a044883f185952" providerId="LiveId" clId="{3DF3007B-9C7A-4F8C-96B1-A9A15E037881}" dt="2023-01-14T15:26:27.256" v="60" actId="1076"/>
          <ac:picMkLst>
            <pc:docMk/>
            <pc:sldMk cId="1418533539" sldId="271"/>
            <ac:picMk id="6" creationId="{AA324F2A-B126-1213-F38B-7FC8BB6EC3B1}"/>
          </ac:picMkLst>
        </pc:picChg>
        <pc:picChg chg="del">
          <ac:chgData name="Roberto Gallardo" userId="49a044883f185952" providerId="LiveId" clId="{3DF3007B-9C7A-4F8C-96B1-A9A15E037881}" dt="2023-01-14T15:26:05.274" v="53" actId="478"/>
          <ac:picMkLst>
            <pc:docMk/>
            <pc:sldMk cId="1418533539" sldId="271"/>
            <ac:picMk id="10" creationId="{1B762686-DC65-9B90-CF68-660E6B2284BC}"/>
          </ac:picMkLst>
        </pc:picChg>
      </pc:sldChg>
      <pc:sldChg chg="mod">
        <pc:chgData name="Roberto Gallardo" userId="49a044883f185952" providerId="LiveId" clId="{3DF3007B-9C7A-4F8C-96B1-A9A15E037881}" dt="2023-01-14T15:25:13.772" v="46" actId="27918"/>
        <pc:sldMkLst>
          <pc:docMk/>
          <pc:sldMk cId="2653937722" sldId="272"/>
        </pc:sldMkLst>
      </pc:sldChg>
      <pc:sldChg chg="modSp mod">
        <pc:chgData name="Roberto Gallardo" userId="49a044883f185952" providerId="LiveId" clId="{3DF3007B-9C7A-4F8C-96B1-A9A15E037881}" dt="2023-01-14T16:01:05.082" v="416" actId="20577"/>
        <pc:sldMkLst>
          <pc:docMk/>
          <pc:sldMk cId="2076698419" sldId="273"/>
        </pc:sldMkLst>
        <pc:spChg chg="mod">
          <ac:chgData name="Roberto Gallardo" userId="49a044883f185952" providerId="LiveId" clId="{3DF3007B-9C7A-4F8C-96B1-A9A15E037881}" dt="2023-01-14T16:01:05.082" v="416" actId="20577"/>
          <ac:spMkLst>
            <pc:docMk/>
            <pc:sldMk cId="2076698419" sldId="273"/>
            <ac:spMk id="8" creationId="{40AF43CC-DD34-B66D-2100-C70E6AB3ED53}"/>
          </ac:spMkLst>
        </pc:spChg>
      </pc:sldChg>
      <pc:sldChg chg="mod">
        <pc:chgData name="Roberto Gallardo" userId="49a044883f185952" providerId="LiveId" clId="{3DF3007B-9C7A-4F8C-96B1-A9A15E037881}" dt="2023-01-14T15:51:31.823" v="393" actId="27918"/>
        <pc:sldMkLst>
          <pc:docMk/>
          <pc:sldMk cId="3802335161" sldId="274"/>
        </pc:sldMkLst>
      </pc:sldChg>
      <pc:sldChg chg="mod">
        <pc:chgData name="Roberto Gallardo" userId="49a044883f185952" providerId="LiveId" clId="{3DF3007B-9C7A-4F8C-96B1-A9A15E037881}" dt="2023-01-14T15:52:39.235" v="399" actId="27918"/>
        <pc:sldMkLst>
          <pc:docMk/>
          <pc:sldMk cId="4292554322" sldId="275"/>
        </pc:sldMkLst>
      </pc:sldChg>
      <pc:sldChg chg="addSp delSp modSp mod">
        <pc:chgData name="Roberto Gallardo" userId="49a044883f185952" providerId="LiveId" clId="{3DF3007B-9C7A-4F8C-96B1-A9A15E037881}" dt="2023-01-15T16:07:02.689" v="1387" actId="1076"/>
        <pc:sldMkLst>
          <pc:docMk/>
          <pc:sldMk cId="513409896" sldId="276"/>
        </pc:sldMkLst>
        <pc:spChg chg="add mod">
          <ac:chgData name="Roberto Gallardo" userId="49a044883f185952" providerId="LiveId" clId="{3DF3007B-9C7A-4F8C-96B1-A9A15E037881}" dt="2023-01-15T16:07:02.689" v="1387" actId="1076"/>
          <ac:spMkLst>
            <pc:docMk/>
            <pc:sldMk cId="513409896" sldId="276"/>
            <ac:spMk id="3" creationId="{AADBAC77-8094-925B-9C83-2132E5A4A84C}"/>
          </ac:spMkLst>
        </pc:spChg>
        <pc:spChg chg="add mod">
          <ac:chgData name="Roberto Gallardo" userId="49a044883f185952" providerId="LiveId" clId="{3DF3007B-9C7A-4F8C-96B1-A9A15E037881}" dt="2023-01-15T16:06:46.356" v="1384" actId="1076"/>
          <ac:spMkLst>
            <pc:docMk/>
            <pc:sldMk cId="513409896" sldId="276"/>
            <ac:spMk id="5" creationId="{EA0F984F-F15C-B54F-E4CE-75954416187D}"/>
          </ac:spMkLst>
        </pc:spChg>
        <pc:spChg chg="del">
          <ac:chgData name="Roberto Gallardo" userId="49a044883f185952" providerId="LiveId" clId="{3DF3007B-9C7A-4F8C-96B1-A9A15E037881}" dt="2023-01-14T16:00:57.620" v="411" actId="478"/>
          <ac:spMkLst>
            <pc:docMk/>
            <pc:sldMk cId="513409896" sldId="276"/>
            <ac:spMk id="8" creationId="{40AF43CC-DD34-B66D-2100-C70E6AB3ED53}"/>
          </ac:spMkLst>
        </pc:spChg>
        <pc:spChg chg="mod">
          <ac:chgData name="Roberto Gallardo" userId="49a044883f185952" providerId="LiveId" clId="{3DF3007B-9C7A-4F8C-96B1-A9A15E037881}" dt="2023-01-14T15:51:01.138" v="389" actId="1036"/>
          <ac:spMkLst>
            <pc:docMk/>
            <pc:sldMk cId="513409896" sldId="276"/>
            <ac:spMk id="21" creationId="{9A68ADBE-AECC-EE60-7E94-3675B33E08AE}"/>
          </ac:spMkLst>
        </pc:spChg>
        <pc:spChg chg="del">
          <ac:chgData name="Roberto Gallardo" userId="49a044883f185952" providerId="LiveId" clId="{3DF3007B-9C7A-4F8C-96B1-A9A15E037881}" dt="2023-01-14T16:00:57.620" v="411" actId="478"/>
          <ac:spMkLst>
            <pc:docMk/>
            <pc:sldMk cId="513409896" sldId="276"/>
            <ac:spMk id="26" creationId="{CCDA5E37-63CE-CEAA-0EAC-3BD8E75B5BA0}"/>
          </ac:spMkLst>
        </pc:spChg>
        <pc:cxnChg chg="mod">
          <ac:chgData name="Roberto Gallardo" userId="49a044883f185952" providerId="LiveId" clId="{3DF3007B-9C7A-4F8C-96B1-A9A15E037881}" dt="2023-01-14T15:50:22.520" v="375" actId="1076"/>
          <ac:cxnSpMkLst>
            <pc:docMk/>
            <pc:sldMk cId="513409896" sldId="276"/>
            <ac:cxnSpMk id="22" creationId="{1B423FA0-E4B3-6570-929B-A9283D503787}"/>
          </ac:cxnSpMkLst>
        </pc:cxnChg>
        <pc:cxnChg chg="mod">
          <ac:chgData name="Roberto Gallardo" userId="49a044883f185952" providerId="LiveId" clId="{3DF3007B-9C7A-4F8C-96B1-A9A15E037881}" dt="2023-01-14T15:50:42.679" v="381" actId="1076"/>
          <ac:cxnSpMkLst>
            <pc:docMk/>
            <pc:sldMk cId="513409896" sldId="276"/>
            <ac:cxnSpMk id="23" creationId="{D616797E-0044-3804-BA5A-23B8EB309CA5}"/>
          </ac:cxnSpMkLst>
        </pc:cxnChg>
        <pc:cxnChg chg="mod">
          <ac:chgData name="Roberto Gallardo" userId="49a044883f185952" providerId="LiveId" clId="{3DF3007B-9C7A-4F8C-96B1-A9A15E037881}" dt="2023-01-14T15:50:54.479" v="384" actId="14100"/>
          <ac:cxnSpMkLst>
            <pc:docMk/>
            <pc:sldMk cId="513409896" sldId="276"/>
            <ac:cxnSpMk id="24" creationId="{20A6256E-6780-BAE0-B803-D02FE024579F}"/>
          </ac:cxnSpMkLst>
        </pc:cxnChg>
        <pc:cxnChg chg="mod">
          <ac:chgData name="Roberto Gallardo" userId="49a044883f185952" providerId="LiveId" clId="{3DF3007B-9C7A-4F8C-96B1-A9A15E037881}" dt="2023-01-14T15:50:58.181" v="385" actId="14100"/>
          <ac:cxnSpMkLst>
            <pc:docMk/>
            <pc:sldMk cId="513409896" sldId="276"/>
            <ac:cxnSpMk id="25" creationId="{62B7492E-2C75-E0CD-947E-C582F412F7D7}"/>
          </ac:cxnSpMkLst>
        </pc:cxnChg>
      </pc:sldChg>
      <pc:sldChg chg="modSp del mod">
        <pc:chgData name="Roberto Gallardo" userId="49a044883f185952" providerId="LiveId" clId="{3DF3007B-9C7A-4F8C-96B1-A9A15E037881}" dt="2023-01-15T16:51:15.895" v="1396" actId="47"/>
        <pc:sldMkLst>
          <pc:docMk/>
          <pc:sldMk cId="543148149" sldId="277"/>
        </pc:sldMkLst>
        <pc:spChg chg="mod">
          <ac:chgData name="Roberto Gallardo" userId="49a044883f185952" providerId="LiveId" clId="{3DF3007B-9C7A-4F8C-96B1-A9A15E037881}" dt="2023-01-15T15:50:18.722" v="964" actId="1076"/>
          <ac:spMkLst>
            <pc:docMk/>
            <pc:sldMk cId="543148149" sldId="277"/>
            <ac:spMk id="2" creationId="{C03B1400-5F72-D252-1DBE-EDCD6E63B07C}"/>
          </ac:spMkLst>
        </pc:spChg>
        <pc:spChg chg="mod">
          <ac:chgData name="Roberto Gallardo" userId="49a044883f185952" providerId="LiveId" clId="{3DF3007B-9C7A-4F8C-96B1-A9A15E037881}" dt="2023-01-15T16:37:25.668" v="1394" actId="113"/>
          <ac:spMkLst>
            <pc:docMk/>
            <pc:sldMk cId="543148149" sldId="277"/>
            <ac:spMk id="5" creationId="{6AE302AC-8931-4144-BE52-DD1A8BA82462}"/>
          </ac:spMkLst>
        </pc:spChg>
        <pc:spChg chg="mod">
          <ac:chgData name="Roberto Gallardo" userId="49a044883f185952" providerId="LiveId" clId="{3DF3007B-9C7A-4F8C-96B1-A9A15E037881}" dt="2023-01-15T16:04:28.598" v="1207" actId="20577"/>
          <ac:spMkLst>
            <pc:docMk/>
            <pc:sldMk cId="543148149" sldId="277"/>
            <ac:spMk id="9" creationId="{E362A98F-7DCD-C67C-23CE-1BE182A133B4}"/>
          </ac:spMkLst>
        </pc:spChg>
      </pc:sldChg>
      <pc:sldChg chg="mod">
        <pc:chgData name="Roberto Gallardo" userId="49a044883f185952" providerId="LiveId" clId="{3DF3007B-9C7A-4F8C-96B1-A9A15E037881}" dt="2023-01-14T15:48:34.199" v="358" actId="27918"/>
        <pc:sldMkLst>
          <pc:docMk/>
          <pc:sldMk cId="349244952" sldId="278"/>
        </pc:sldMkLst>
      </pc:sldChg>
      <pc:sldChg chg="addSp delSp modSp mod">
        <pc:chgData name="Roberto Gallardo" userId="49a044883f185952" providerId="LiveId" clId="{3DF3007B-9C7A-4F8C-96B1-A9A15E037881}" dt="2023-01-14T15:33:38.998" v="158" actId="1076"/>
        <pc:sldMkLst>
          <pc:docMk/>
          <pc:sldMk cId="2124848710" sldId="281"/>
        </pc:sldMkLst>
        <pc:picChg chg="del">
          <ac:chgData name="Roberto Gallardo" userId="49a044883f185952" providerId="LiveId" clId="{3DF3007B-9C7A-4F8C-96B1-A9A15E037881}" dt="2023-01-14T15:32:28.794" v="142" actId="478"/>
          <ac:picMkLst>
            <pc:docMk/>
            <pc:sldMk cId="2124848710" sldId="281"/>
            <ac:picMk id="5" creationId="{2A59AE6B-1B9E-0347-0422-DB514C73822C}"/>
          </ac:picMkLst>
        </pc:picChg>
        <pc:picChg chg="add mod">
          <ac:chgData name="Roberto Gallardo" userId="49a044883f185952" providerId="LiveId" clId="{3DF3007B-9C7A-4F8C-96B1-A9A15E037881}" dt="2023-01-14T15:33:38.998" v="158" actId="1076"/>
          <ac:picMkLst>
            <pc:docMk/>
            <pc:sldMk cId="2124848710" sldId="281"/>
            <ac:picMk id="8" creationId="{B2C7F90E-076E-E7F4-6353-0557D09C4DB8}"/>
          </ac:picMkLst>
        </pc:picChg>
      </pc:sldChg>
      <pc:sldChg chg="addSp delSp modSp mod">
        <pc:chgData name="Roberto Gallardo" userId="49a044883f185952" providerId="LiveId" clId="{3DF3007B-9C7A-4F8C-96B1-A9A15E037881}" dt="2023-01-14T15:34:52.737" v="176" actId="1076"/>
        <pc:sldMkLst>
          <pc:docMk/>
          <pc:sldMk cId="2028175529" sldId="282"/>
        </pc:sldMkLst>
        <pc:picChg chg="add mod">
          <ac:chgData name="Roberto Gallardo" userId="49a044883f185952" providerId="LiveId" clId="{3DF3007B-9C7A-4F8C-96B1-A9A15E037881}" dt="2023-01-14T15:34:52.737" v="176" actId="1076"/>
          <ac:picMkLst>
            <pc:docMk/>
            <pc:sldMk cId="2028175529" sldId="282"/>
            <ac:picMk id="5" creationId="{260C7A0C-0951-FADF-30D5-25F9F86F74C3}"/>
          </ac:picMkLst>
        </pc:picChg>
        <pc:picChg chg="del">
          <ac:chgData name="Roberto Gallardo" userId="49a044883f185952" providerId="LiveId" clId="{3DF3007B-9C7A-4F8C-96B1-A9A15E037881}" dt="2023-01-14T15:33:45.081" v="159" actId="478"/>
          <ac:picMkLst>
            <pc:docMk/>
            <pc:sldMk cId="2028175529" sldId="282"/>
            <ac:picMk id="8" creationId="{C96FB809-0226-5B71-8F0F-02E5A446EAFD}"/>
          </ac:picMkLst>
        </pc:picChg>
      </pc:sldChg>
      <pc:sldChg chg="addSp delSp modSp mod">
        <pc:chgData name="Roberto Gallardo" userId="49a044883f185952" providerId="LiveId" clId="{3DF3007B-9C7A-4F8C-96B1-A9A15E037881}" dt="2023-01-14T15:55:05.449" v="410" actId="27918"/>
        <pc:sldMkLst>
          <pc:docMk/>
          <pc:sldMk cId="1326517747" sldId="283"/>
        </pc:sldMkLst>
        <pc:picChg chg="add mod">
          <ac:chgData name="Roberto Gallardo" userId="49a044883f185952" providerId="LiveId" clId="{3DF3007B-9C7A-4F8C-96B1-A9A15E037881}" dt="2023-01-14T15:36:09.331" v="194" actId="1076"/>
          <ac:picMkLst>
            <pc:docMk/>
            <pc:sldMk cId="1326517747" sldId="283"/>
            <ac:picMk id="5" creationId="{D5820370-CCF1-A1EF-BE00-D7215C0A77FB}"/>
          </ac:picMkLst>
        </pc:picChg>
        <pc:picChg chg="del">
          <ac:chgData name="Roberto Gallardo" userId="49a044883f185952" providerId="LiveId" clId="{3DF3007B-9C7A-4F8C-96B1-A9A15E037881}" dt="2023-01-14T15:35:02.381" v="177" actId="478"/>
          <ac:picMkLst>
            <pc:docMk/>
            <pc:sldMk cId="1326517747" sldId="283"/>
            <ac:picMk id="8" creationId="{9C745558-7BBD-B834-609E-ED244F71DA92}"/>
          </ac:picMkLst>
        </pc:picChg>
      </pc:sldChg>
      <pc:sldChg chg="addSp delSp modSp mod">
        <pc:chgData name="Roberto Gallardo" userId="49a044883f185952" providerId="LiveId" clId="{3DF3007B-9C7A-4F8C-96B1-A9A15E037881}" dt="2023-01-14T15:37:31.474" v="212" actId="1076"/>
        <pc:sldMkLst>
          <pc:docMk/>
          <pc:sldMk cId="783739251" sldId="284"/>
        </pc:sldMkLst>
        <pc:picChg chg="add mod">
          <ac:chgData name="Roberto Gallardo" userId="49a044883f185952" providerId="LiveId" clId="{3DF3007B-9C7A-4F8C-96B1-A9A15E037881}" dt="2023-01-14T15:37:31.474" v="212" actId="1076"/>
          <ac:picMkLst>
            <pc:docMk/>
            <pc:sldMk cId="783739251" sldId="284"/>
            <ac:picMk id="5" creationId="{51A0082B-6724-5BA2-83DB-9E6F050C4194}"/>
          </ac:picMkLst>
        </pc:picChg>
        <pc:picChg chg="del">
          <ac:chgData name="Roberto Gallardo" userId="49a044883f185952" providerId="LiveId" clId="{3DF3007B-9C7A-4F8C-96B1-A9A15E037881}" dt="2023-01-14T15:36:16.664" v="195" actId="478"/>
          <ac:picMkLst>
            <pc:docMk/>
            <pc:sldMk cId="783739251" sldId="284"/>
            <ac:picMk id="8" creationId="{5EB75393-923B-5E8A-A45C-412BB00B7CE6}"/>
          </ac:picMkLst>
        </pc:picChg>
      </pc:sldChg>
      <pc:sldChg chg="addSp delSp modSp mod">
        <pc:chgData name="Roberto Gallardo" userId="49a044883f185952" providerId="LiveId" clId="{3DF3007B-9C7A-4F8C-96B1-A9A15E037881}" dt="2023-01-14T15:38:53.794" v="231" actId="1076"/>
        <pc:sldMkLst>
          <pc:docMk/>
          <pc:sldMk cId="1676122233" sldId="285"/>
        </pc:sldMkLst>
        <pc:picChg chg="add mod">
          <ac:chgData name="Roberto Gallardo" userId="49a044883f185952" providerId="LiveId" clId="{3DF3007B-9C7A-4F8C-96B1-A9A15E037881}" dt="2023-01-14T15:38:53.794" v="231" actId="1076"/>
          <ac:picMkLst>
            <pc:docMk/>
            <pc:sldMk cId="1676122233" sldId="285"/>
            <ac:picMk id="5" creationId="{530164EF-188D-6031-69E1-DAEB594BD715}"/>
          </ac:picMkLst>
        </pc:picChg>
        <pc:picChg chg="del">
          <ac:chgData name="Roberto Gallardo" userId="49a044883f185952" providerId="LiveId" clId="{3DF3007B-9C7A-4F8C-96B1-A9A15E037881}" dt="2023-01-14T15:37:37.897" v="213" actId="478"/>
          <ac:picMkLst>
            <pc:docMk/>
            <pc:sldMk cId="1676122233" sldId="285"/>
            <ac:picMk id="8" creationId="{48B1E2F8-C8FE-C52D-F7C0-EE1A726B9349}"/>
          </ac:picMkLst>
        </pc:picChg>
      </pc:sldChg>
      <pc:sldChg chg="addSp delSp modSp mod">
        <pc:chgData name="Roberto Gallardo" userId="49a044883f185952" providerId="LiveId" clId="{3DF3007B-9C7A-4F8C-96B1-A9A15E037881}" dt="2023-01-14T15:40:07.717" v="250" actId="1076"/>
        <pc:sldMkLst>
          <pc:docMk/>
          <pc:sldMk cId="3100398757" sldId="286"/>
        </pc:sldMkLst>
        <pc:picChg chg="add mod">
          <ac:chgData name="Roberto Gallardo" userId="49a044883f185952" providerId="LiveId" clId="{3DF3007B-9C7A-4F8C-96B1-A9A15E037881}" dt="2023-01-14T15:40:07.717" v="250" actId="1076"/>
          <ac:picMkLst>
            <pc:docMk/>
            <pc:sldMk cId="3100398757" sldId="286"/>
            <ac:picMk id="5" creationId="{81384F42-FB82-8586-B860-364340637A94}"/>
          </ac:picMkLst>
        </pc:picChg>
        <pc:picChg chg="del">
          <ac:chgData name="Roberto Gallardo" userId="49a044883f185952" providerId="LiveId" clId="{3DF3007B-9C7A-4F8C-96B1-A9A15E037881}" dt="2023-01-14T15:38:58.416" v="232" actId="478"/>
          <ac:picMkLst>
            <pc:docMk/>
            <pc:sldMk cId="3100398757" sldId="286"/>
            <ac:picMk id="8" creationId="{67EF222E-EF11-45B4-B78B-674626454C4E}"/>
          </ac:picMkLst>
        </pc:picChg>
      </pc:sldChg>
      <pc:sldChg chg="addSp delSp modSp mod">
        <pc:chgData name="Roberto Gallardo" userId="49a044883f185952" providerId="LiveId" clId="{3DF3007B-9C7A-4F8C-96B1-A9A15E037881}" dt="2023-01-14T15:41:18.654" v="267" actId="1076"/>
        <pc:sldMkLst>
          <pc:docMk/>
          <pc:sldMk cId="1546475425" sldId="287"/>
        </pc:sldMkLst>
        <pc:picChg chg="add mod">
          <ac:chgData name="Roberto Gallardo" userId="49a044883f185952" providerId="LiveId" clId="{3DF3007B-9C7A-4F8C-96B1-A9A15E037881}" dt="2023-01-14T15:41:18.654" v="267" actId="1076"/>
          <ac:picMkLst>
            <pc:docMk/>
            <pc:sldMk cId="1546475425" sldId="287"/>
            <ac:picMk id="5" creationId="{9E9D876E-9747-F78D-891D-F8A446A515CF}"/>
          </ac:picMkLst>
        </pc:picChg>
        <pc:picChg chg="del">
          <ac:chgData name="Roberto Gallardo" userId="49a044883f185952" providerId="LiveId" clId="{3DF3007B-9C7A-4F8C-96B1-A9A15E037881}" dt="2023-01-14T15:40:15.179" v="251" actId="478"/>
          <ac:picMkLst>
            <pc:docMk/>
            <pc:sldMk cId="1546475425" sldId="287"/>
            <ac:picMk id="8" creationId="{46427D8E-669F-B7B7-9C33-5BCC9BE16612}"/>
          </ac:picMkLst>
        </pc:picChg>
      </pc:sldChg>
      <pc:sldChg chg="addSp delSp modSp mod">
        <pc:chgData name="Roberto Gallardo" userId="49a044883f185952" providerId="LiveId" clId="{3DF3007B-9C7A-4F8C-96B1-A9A15E037881}" dt="2023-01-14T15:43:52.325" v="301" actId="1076"/>
        <pc:sldMkLst>
          <pc:docMk/>
          <pc:sldMk cId="1380517306" sldId="288"/>
        </pc:sldMkLst>
        <pc:picChg chg="add mod">
          <ac:chgData name="Roberto Gallardo" userId="49a044883f185952" providerId="LiveId" clId="{3DF3007B-9C7A-4F8C-96B1-A9A15E037881}" dt="2023-01-14T15:43:52.325" v="301" actId="1076"/>
          <ac:picMkLst>
            <pc:docMk/>
            <pc:sldMk cId="1380517306" sldId="288"/>
            <ac:picMk id="5" creationId="{B56955DC-09E5-145F-D5EA-7A4828711AD9}"/>
          </ac:picMkLst>
        </pc:picChg>
        <pc:picChg chg="del">
          <ac:chgData name="Roberto Gallardo" userId="49a044883f185952" providerId="LiveId" clId="{3DF3007B-9C7A-4F8C-96B1-A9A15E037881}" dt="2023-01-14T15:42:43.161" v="285" actId="478"/>
          <ac:picMkLst>
            <pc:docMk/>
            <pc:sldMk cId="1380517306" sldId="288"/>
            <ac:picMk id="8" creationId="{DA143094-A860-740B-5598-937C43F51433}"/>
          </ac:picMkLst>
        </pc:picChg>
      </pc:sldChg>
      <pc:sldChg chg="addSp delSp modSp mod">
        <pc:chgData name="Roberto Gallardo" userId="49a044883f185952" providerId="LiveId" clId="{3DF3007B-9C7A-4F8C-96B1-A9A15E037881}" dt="2023-01-14T15:44:53.314" v="318" actId="1076"/>
        <pc:sldMkLst>
          <pc:docMk/>
          <pc:sldMk cId="1388671151" sldId="289"/>
        </pc:sldMkLst>
        <pc:picChg chg="add mod">
          <ac:chgData name="Roberto Gallardo" userId="49a044883f185952" providerId="LiveId" clId="{3DF3007B-9C7A-4F8C-96B1-A9A15E037881}" dt="2023-01-14T15:44:53.314" v="318" actId="1076"/>
          <ac:picMkLst>
            <pc:docMk/>
            <pc:sldMk cId="1388671151" sldId="289"/>
            <ac:picMk id="5" creationId="{D914859F-2C47-69E5-C8E5-153B565AD678}"/>
          </ac:picMkLst>
        </pc:picChg>
        <pc:picChg chg="del">
          <ac:chgData name="Roberto Gallardo" userId="49a044883f185952" providerId="LiveId" clId="{3DF3007B-9C7A-4F8C-96B1-A9A15E037881}" dt="2023-01-14T15:43:56.907" v="302" actId="478"/>
          <ac:picMkLst>
            <pc:docMk/>
            <pc:sldMk cId="1388671151" sldId="289"/>
            <ac:picMk id="8" creationId="{AED980C4-47A1-C04E-25A3-CD82D8EDBD08}"/>
          </ac:picMkLst>
        </pc:picChg>
      </pc:sldChg>
      <pc:sldChg chg="addSp delSp modSp mod">
        <pc:chgData name="Roberto Gallardo" userId="49a044883f185952" providerId="LiveId" clId="{3DF3007B-9C7A-4F8C-96B1-A9A15E037881}" dt="2023-01-15T16:06:14.292" v="1288" actId="20577"/>
        <pc:sldMkLst>
          <pc:docMk/>
          <pc:sldMk cId="2355376039" sldId="290"/>
        </pc:sldMkLst>
        <pc:spChg chg="mod">
          <ac:chgData name="Roberto Gallardo" userId="49a044883f185952" providerId="LiveId" clId="{3DF3007B-9C7A-4F8C-96B1-A9A15E037881}" dt="2023-01-15T16:06:14.292" v="1288" actId="20577"/>
          <ac:spMkLst>
            <pc:docMk/>
            <pc:sldMk cId="2355376039" sldId="290"/>
            <ac:spMk id="5" creationId="{AD271B2F-57B1-DDF3-844C-402D53D67F69}"/>
          </ac:spMkLst>
        </pc:spChg>
        <pc:picChg chg="del">
          <ac:chgData name="Roberto Gallardo" userId="49a044883f185952" providerId="LiveId" clId="{3DF3007B-9C7A-4F8C-96B1-A9A15E037881}" dt="2023-01-14T15:44:57.801" v="319" actId="478"/>
          <ac:picMkLst>
            <pc:docMk/>
            <pc:sldMk cId="2355376039" sldId="290"/>
            <ac:picMk id="8" creationId="{691D88B5-CF63-BD38-2195-191C7A96E128}"/>
          </ac:picMkLst>
        </pc:picChg>
        <pc:picChg chg="add mod">
          <ac:chgData name="Roberto Gallardo" userId="49a044883f185952" providerId="LiveId" clId="{3DF3007B-9C7A-4F8C-96B1-A9A15E037881}" dt="2023-01-14T15:46:21.505" v="335" actId="1076"/>
          <ac:picMkLst>
            <pc:docMk/>
            <pc:sldMk cId="2355376039" sldId="290"/>
            <ac:picMk id="9" creationId="{FBDED459-655E-6F8F-68B1-AF4AA58F1F84}"/>
          </ac:picMkLst>
        </pc:picChg>
      </pc:sldChg>
      <pc:sldChg chg="addSp delSp modSp mod">
        <pc:chgData name="Roberto Gallardo" userId="49a044883f185952" providerId="LiveId" clId="{3DF3007B-9C7A-4F8C-96B1-A9A15E037881}" dt="2023-01-15T16:13:27.698" v="1393"/>
        <pc:sldMkLst>
          <pc:docMk/>
          <pc:sldMk cId="3757257295" sldId="291"/>
        </pc:sldMkLst>
        <pc:spChg chg="mod">
          <ac:chgData name="Roberto Gallardo" userId="49a044883f185952" providerId="LiveId" clId="{3DF3007B-9C7A-4F8C-96B1-A9A15E037881}" dt="2023-01-15T16:13:27.698" v="1393"/>
          <ac:spMkLst>
            <pc:docMk/>
            <pc:sldMk cId="3757257295" sldId="291"/>
            <ac:spMk id="9" creationId="{7186EF87-E728-D13E-4ADB-699D1D4C3197}"/>
          </ac:spMkLst>
        </pc:spChg>
        <pc:graphicFrameChg chg="mod">
          <ac:chgData name="Roberto Gallardo" userId="49a044883f185952" providerId="LiveId" clId="{3DF3007B-9C7A-4F8C-96B1-A9A15E037881}" dt="2023-01-14T15:47:18.385" v="346"/>
          <ac:graphicFrameMkLst>
            <pc:docMk/>
            <pc:sldMk cId="3757257295" sldId="291"/>
            <ac:graphicFrameMk id="6" creationId="{CE45C3AF-C253-DC6A-54C2-FE3F8F710345}"/>
          </ac:graphicFrameMkLst>
        </pc:graphicFrameChg>
        <pc:picChg chg="add mod">
          <ac:chgData name="Roberto Gallardo" userId="49a044883f185952" providerId="LiveId" clId="{3DF3007B-9C7A-4F8C-96B1-A9A15E037881}" dt="2023-01-14T15:47:38.207" v="354" actId="1076"/>
          <ac:picMkLst>
            <pc:docMk/>
            <pc:sldMk cId="3757257295" sldId="291"/>
            <ac:picMk id="7" creationId="{A8C2B9C6-FE6E-6FFB-23EF-BFF18FD3ADBC}"/>
          </ac:picMkLst>
        </pc:picChg>
        <pc:picChg chg="del">
          <ac:chgData name="Roberto Gallardo" userId="49a044883f185952" providerId="LiveId" clId="{3DF3007B-9C7A-4F8C-96B1-A9A15E037881}" dt="2023-01-14T15:46:25.582" v="336" actId="478"/>
          <ac:picMkLst>
            <pc:docMk/>
            <pc:sldMk cId="3757257295" sldId="291"/>
            <ac:picMk id="8" creationId="{674086C1-C7A9-8285-AAEA-22247A0797F9}"/>
          </ac:picMkLst>
        </pc:picChg>
      </pc:sldChg>
      <pc:sldChg chg="addSp delSp modSp mod">
        <pc:chgData name="Roberto Gallardo" userId="49a044883f185952" providerId="LiveId" clId="{3DF3007B-9C7A-4F8C-96B1-A9A15E037881}" dt="2023-01-14T15:42:36.378" v="284" actId="1076"/>
        <pc:sldMkLst>
          <pc:docMk/>
          <pc:sldMk cId="1259856727" sldId="292"/>
        </pc:sldMkLst>
        <pc:picChg chg="add mod">
          <ac:chgData name="Roberto Gallardo" userId="49a044883f185952" providerId="LiveId" clId="{3DF3007B-9C7A-4F8C-96B1-A9A15E037881}" dt="2023-01-14T15:42:36.378" v="284" actId="1076"/>
          <ac:picMkLst>
            <pc:docMk/>
            <pc:sldMk cId="1259856727" sldId="292"/>
            <ac:picMk id="5" creationId="{B48EF86A-52C3-AB58-168F-16F2880765DB}"/>
          </ac:picMkLst>
        </pc:picChg>
        <pc:picChg chg="del">
          <ac:chgData name="Roberto Gallardo" userId="49a044883f185952" providerId="LiveId" clId="{3DF3007B-9C7A-4F8C-96B1-A9A15E037881}" dt="2023-01-14T15:41:24.451" v="268" actId="478"/>
          <ac:picMkLst>
            <pc:docMk/>
            <pc:sldMk cId="1259856727" sldId="292"/>
            <ac:picMk id="8" creationId="{ACDBDE58-AC87-FD18-3F93-26923B735BD3}"/>
          </ac:picMkLst>
        </pc:picChg>
      </pc:sldChg>
      <pc:sldChg chg="addSp delSp modSp mod">
        <pc:chgData name="Roberto Gallardo" userId="49a044883f185952" providerId="LiveId" clId="{3DF3007B-9C7A-4F8C-96B1-A9A15E037881}" dt="2023-01-14T15:32:12.906" v="141" actId="1076"/>
        <pc:sldMkLst>
          <pc:docMk/>
          <pc:sldMk cId="3324519687" sldId="293"/>
        </pc:sldMkLst>
        <pc:picChg chg="add mod">
          <ac:chgData name="Roberto Gallardo" userId="49a044883f185952" providerId="LiveId" clId="{3DF3007B-9C7A-4F8C-96B1-A9A15E037881}" dt="2023-01-14T15:32:12.906" v="141" actId="1076"/>
          <ac:picMkLst>
            <pc:docMk/>
            <pc:sldMk cId="3324519687" sldId="293"/>
            <ac:picMk id="7" creationId="{A60F00B6-02AC-6AA9-3D46-B7D23CB693CF}"/>
          </ac:picMkLst>
        </pc:picChg>
        <pc:picChg chg="del">
          <ac:chgData name="Roberto Gallardo" userId="49a044883f185952" providerId="LiveId" clId="{3DF3007B-9C7A-4F8C-96B1-A9A15E037881}" dt="2023-01-14T15:30:56" v="124" actId="478"/>
          <ac:picMkLst>
            <pc:docMk/>
            <pc:sldMk cId="3324519687" sldId="293"/>
            <ac:picMk id="8" creationId="{EBF08018-13C5-6C09-EDA1-F15EE5AE8D0D}"/>
          </ac:picMkLst>
        </pc:picChg>
      </pc:sldChg>
      <pc:sldChg chg="addSp delSp modSp mod">
        <pc:chgData name="Roberto Gallardo" userId="49a044883f185952" providerId="LiveId" clId="{3DF3007B-9C7A-4F8C-96B1-A9A15E037881}" dt="2023-01-14T15:29:22.137" v="105" actId="1076"/>
        <pc:sldMkLst>
          <pc:docMk/>
          <pc:sldMk cId="3256182630" sldId="295"/>
        </pc:sldMkLst>
        <pc:picChg chg="del">
          <ac:chgData name="Roberto Gallardo" userId="49a044883f185952" providerId="LiveId" clId="{3DF3007B-9C7A-4F8C-96B1-A9A15E037881}" dt="2023-01-14T15:28:56.714" v="96" actId="478"/>
          <ac:picMkLst>
            <pc:docMk/>
            <pc:sldMk cId="3256182630" sldId="295"/>
            <ac:picMk id="6" creationId="{1702842D-CEA8-22EA-EB94-B22A16AB6736}"/>
          </ac:picMkLst>
        </pc:picChg>
        <pc:picChg chg="add mod">
          <ac:chgData name="Roberto Gallardo" userId="49a044883f185952" providerId="LiveId" clId="{3DF3007B-9C7A-4F8C-96B1-A9A15E037881}" dt="2023-01-14T15:29:22.137" v="105" actId="1076"/>
          <ac:picMkLst>
            <pc:docMk/>
            <pc:sldMk cId="3256182630" sldId="295"/>
            <ac:picMk id="7" creationId="{F5F485D3-05AE-5D7F-37DB-43ABCEBD3703}"/>
          </ac:picMkLst>
        </pc:picChg>
      </pc:sldChg>
      <pc:sldChg chg="addSp delSp modSp mod">
        <pc:chgData name="Roberto Gallardo" userId="49a044883f185952" providerId="LiveId" clId="{3DF3007B-9C7A-4F8C-96B1-A9A15E037881}" dt="2023-01-14T15:30:47.014" v="123" actId="1076"/>
        <pc:sldMkLst>
          <pc:docMk/>
          <pc:sldMk cId="4057156843" sldId="296"/>
        </pc:sldMkLst>
        <pc:graphicFrameChg chg="mod">
          <ac:chgData name="Roberto Gallardo" userId="49a044883f185952" providerId="LiveId" clId="{3DF3007B-9C7A-4F8C-96B1-A9A15E037881}" dt="2023-01-14T15:30:28.829" v="116"/>
          <ac:graphicFrameMkLst>
            <pc:docMk/>
            <pc:sldMk cId="4057156843" sldId="296"/>
            <ac:graphicFrameMk id="8" creationId="{D3B2E8D2-9CCD-964A-5CD5-9F743C3CE109}"/>
          </ac:graphicFrameMkLst>
        </pc:graphicFrameChg>
        <pc:picChg chg="add mod">
          <ac:chgData name="Roberto Gallardo" userId="49a044883f185952" providerId="LiveId" clId="{3DF3007B-9C7A-4F8C-96B1-A9A15E037881}" dt="2023-01-14T15:30:47.014" v="123" actId="1076"/>
          <ac:picMkLst>
            <pc:docMk/>
            <pc:sldMk cId="4057156843" sldId="296"/>
            <ac:picMk id="6" creationId="{C8B8A69D-FF68-B96E-56CB-FCCDC75BF626}"/>
          </ac:picMkLst>
        </pc:picChg>
        <pc:picChg chg="del">
          <ac:chgData name="Roberto Gallardo" userId="49a044883f185952" providerId="LiveId" clId="{3DF3007B-9C7A-4F8C-96B1-A9A15E037881}" dt="2023-01-14T15:29:36.791" v="106" actId="478"/>
          <ac:picMkLst>
            <pc:docMk/>
            <pc:sldMk cId="4057156843" sldId="296"/>
            <ac:picMk id="7" creationId="{03537EF1-AA28-12B3-A8B5-56716712F13E}"/>
          </ac:picMkLst>
        </pc:picChg>
      </pc:sldChg>
      <pc:sldChg chg="addSp delSp modSp mod">
        <pc:chgData name="Roberto Gallardo" userId="49a044883f185952" providerId="LiveId" clId="{3DF3007B-9C7A-4F8C-96B1-A9A15E037881}" dt="2023-01-14T15:27:32.674" v="86" actId="1035"/>
        <pc:sldMkLst>
          <pc:docMk/>
          <pc:sldMk cId="2080110827" sldId="297"/>
        </pc:sldMkLst>
        <pc:picChg chg="add mod">
          <ac:chgData name="Roberto Gallardo" userId="49a044883f185952" providerId="LiveId" clId="{3DF3007B-9C7A-4F8C-96B1-A9A15E037881}" dt="2023-01-14T15:27:32.674" v="86" actId="1035"/>
          <ac:picMkLst>
            <pc:docMk/>
            <pc:sldMk cId="2080110827" sldId="297"/>
            <ac:picMk id="6" creationId="{1889EED2-D6E5-E4E3-73B3-31E3AF9615E2}"/>
          </ac:picMkLst>
        </pc:picChg>
        <pc:picChg chg="del">
          <ac:chgData name="Roberto Gallardo" userId="49a044883f185952" providerId="LiveId" clId="{3DF3007B-9C7A-4F8C-96B1-A9A15E037881}" dt="2023-01-14T15:27:08.617" v="75" actId="478"/>
          <ac:picMkLst>
            <pc:docMk/>
            <pc:sldMk cId="2080110827" sldId="297"/>
            <ac:picMk id="7" creationId="{0388A1BD-F495-CF38-451C-2DAAAE28522D}"/>
          </ac:picMkLst>
        </pc:picChg>
      </pc:sldChg>
      <pc:sldChg chg="addSp delSp modSp mod">
        <pc:chgData name="Roberto Gallardo" userId="49a044883f185952" providerId="LiveId" clId="{3DF3007B-9C7A-4F8C-96B1-A9A15E037881}" dt="2023-01-14T15:27:03.672" v="74" actId="1036"/>
        <pc:sldMkLst>
          <pc:docMk/>
          <pc:sldMk cId="1532666867" sldId="298"/>
        </pc:sldMkLst>
        <pc:picChg chg="del">
          <ac:chgData name="Roberto Gallardo" userId="49a044883f185952" providerId="LiveId" clId="{3DF3007B-9C7A-4F8C-96B1-A9A15E037881}" dt="2023-01-14T15:26:33.936" v="61" actId="478"/>
          <ac:picMkLst>
            <pc:docMk/>
            <pc:sldMk cId="1532666867" sldId="298"/>
            <ac:picMk id="6" creationId="{F1EBB4A8-83F5-668F-D12B-3E393E0C0F7B}"/>
          </ac:picMkLst>
        </pc:picChg>
        <pc:picChg chg="add mod">
          <ac:chgData name="Roberto Gallardo" userId="49a044883f185952" providerId="LiveId" clId="{3DF3007B-9C7A-4F8C-96B1-A9A15E037881}" dt="2023-01-14T15:27:03.672" v="74" actId="1036"/>
          <ac:picMkLst>
            <pc:docMk/>
            <pc:sldMk cId="1532666867" sldId="298"/>
            <ac:picMk id="7" creationId="{EC553BCD-1BFE-BD14-331F-7EFEA6532C3B}"/>
          </ac:picMkLst>
        </pc:picChg>
      </pc:sldChg>
      <pc:sldChg chg="addSp delSp modSp add mod">
        <pc:chgData name="Roberto Gallardo" userId="49a044883f185952" providerId="LiveId" clId="{3DF3007B-9C7A-4F8C-96B1-A9A15E037881}" dt="2023-01-15T16:13:08.523" v="1392" actId="20577"/>
        <pc:sldMkLst>
          <pc:docMk/>
          <pc:sldMk cId="1951376777" sldId="299"/>
        </pc:sldMkLst>
        <pc:spChg chg="mod">
          <ac:chgData name="Roberto Gallardo" userId="49a044883f185952" providerId="LiveId" clId="{3DF3007B-9C7A-4F8C-96B1-A9A15E037881}" dt="2023-01-15T15:44:45.616" v="444" actId="20577"/>
          <ac:spMkLst>
            <pc:docMk/>
            <pc:sldMk cId="1951376777" sldId="299"/>
            <ac:spMk id="2" creationId="{C03B1400-5F72-D252-1DBE-EDCD6E63B07C}"/>
          </ac:spMkLst>
        </pc:spChg>
        <pc:spChg chg="mod">
          <ac:chgData name="Roberto Gallardo" userId="49a044883f185952" providerId="LiveId" clId="{3DF3007B-9C7A-4F8C-96B1-A9A15E037881}" dt="2023-01-15T16:13:08.523" v="1392" actId="20577"/>
          <ac:spMkLst>
            <pc:docMk/>
            <pc:sldMk cId="1951376777" sldId="299"/>
            <ac:spMk id="7" creationId="{51811D46-3545-CBB8-9C35-BAFF095496AA}"/>
          </ac:spMkLst>
        </pc:spChg>
        <pc:picChg chg="del">
          <ac:chgData name="Roberto Gallardo" userId="49a044883f185952" providerId="LiveId" clId="{3DF3007B-9C7A-4F8C-96B1-A9A15E037881}" dt="2023-01-15T15:44:51.439" v="445" actId="478"/>
          <ac:picMkLst>
            <pc:docMk/>
            <pc:sldMk cId="1951376777" sldId="299"/>
            <ac:picMk id="5" creationId="{D914859F-2C47-69E5-C8E5-153B565AD678}"/>
          </ac:picMkLst>
        </pc:picChg>
        <pc:picChg chg="add mod">
          <ac:chgData name="Roberto Gallardo" userId="49a044883f185952" providerId="LiveId" clId="{3DF3007B-9C7A-4F8C-96B1-A9A15E037881}" dt="2023-01-15T15:45:14.760" v="453" actId="1076"/>
          <ac:picMkLst>
            <pc:docMk/>
            <pc:sldMk cId="1951376777" sldId="299"/>
            <ac:picMk id="8" creationId="{E81B59CA-9234-ED7C-9930-EBA794BB9820}"/>
          </ac:picMkLst>
        </pc:picChg>
      </pc:sldChg>
      <pc:sldChg chg="add">
        <pc:chgData name="Roberto Gallardo" userId="49a044883f185952" providerId="LiveId" clId="{3DF3007B-9C7A-4F8C-96B1-A9A15E037881}" dt="2023-01-15T16:51:13.264" v="1395"/>
        <pc:sldMkLst>
          <pc:docMk/>
          <pc:sldMk cId="230398305" sldId="301"/>
        </pc:sldMkLst>
      </pc:sldChg>
    </pc:docChg>
  </pc:docChgLst>
  <pc:docChgLst>
    <pc:chgData name="Roberto Gallardo" userId="49a044883f185952" providerId="LiveId" clId="{F4D957F6-5F28-4DDF-9F2A-0CB3D547903A}"/>
    <pc:docChg chg="undo custSel addSld delSld modSld sldOrd">
      <pc:chgData name="Roberto Gallardo" userId="49a044883f185952" providerId="LiveId" clId="{F4D957F6-5F28-4DDF-9F2A-0CB3D547903A}" dt="2022-07-10T15:59:21.537" v="8244"/>
      <pc:docMkLst>
        <pc:docMk/>
      </pc:docMkLst>
      <pc:sldChg chg="addSp delSp modSp mod">
        <pc:chgData name="Roberto Gallardo" userId="49a044883f185952" providerId="LiveId" clId="{F4D957F6-5F28-4DDF-9F2A-0CB3D547903A}" dt="2022-07-09T12:40:22.696" v="7914" actId="6549"/>
        <pc:sldMkLst>
          <pc:docMk/>
          <pc:sldMk cId="2846901679" sldId="256"/>
        </pc:sldMkLst>
        <pc:spChg chg="add del mod">
          <ac:chgData name="Roberto Gallardo" userId="49a044883f185952" providerId="LiveId" clId="{F4D957F6-5F28-4DDF-9F2A-0CB3D547903A}" dt="2022-07-04T13:34:55.564" v="2" actId="478"/>
          <ac:spMkLst>
            <pc:docMk/>
            <pc:sldMk cId="2846901679" sldId="256"/>
            <ac:spMk id="5" creationId="{80F44228-1734-5C65-7A8F-D647FE8F9F7A}"/>
          </ac:spMkLst>
        </pc:spChg>
        <pc:spChg chg="add mod topLvl">
          <ac:chgData name="Roberto Gallardo" userId="49a044883f185952" providerId="LiveId" clId="{F4D957F6-5F28-4DDF-9F2A-0CB3D547903A}" dt="2022-07-04T13:38:04.288" v="228" actId="14100"/>
          <ac:spMkLst>
            <pc:docMk/>
            <pc:sldMk cId="2846901679" sldId="256"/>
            <ac:spMk id="6" creationId="{EC0D6789-6A37-0043-937E-6C3320ED0C53}"/>
          </ac:spMkLst>
        </pc:spChg>
        <pc:spChg chg="add mod topLvl">
          <ac:chgData name="Roberto Gallardo" userId="49a044883f185952" providerId="LiveId" clId="{F4D957F6-5F28-4DDF-9F2A-0CB3D547903A}" dt="2022-07-09T12:40:22.696" v="7914" actId="6549"/>
          <ac:spMkLst>
            <pc:docMk/>
            <pc:sldMk cId="2846901679" sldId="256"/>
            <ac:spMk id="7" creationId="{B1E0ABEC-554C-720A-2772-F0324C8E93CA}"/>
          </ac:spMkLst>
        </pc:spChg>
        <pc:grpChg chg="add del mod">
          <ac:chgData name="Roberto Gallardo" userId="49a044883f185952" providerId="LiveId" clId="{F4D957F6-5F28-4DDF-9F2A-0CB3D547903A}" dt="2022-07-04T13:38:00.995" v="227" actId="165"/>
          <ac:grpSpMkLst>
            <pc:docMk/>
            <pc:sldMk cId="2846901679" sldId="256"/>
            <ac:grpSpMk id="8" creationId="{A1F124F7-6BF9-29EA-3DFB-98E68EA6CDE3}"/>
          </ac:grpSpMkLst>
        </pc:grpChg>
        <pc:cxnChg chg="add mod">
          <ac:chgData name="Roberto Gallardo" userId="49a044883f185952" providerId="LiveId" clId="{F4D957F6-5F28-4DDF-9F2A-0CB3D547903A}" dt="2022-07-04T17:56:17.698" v="757" actId="1035"/>
          <ac:cxnSpMkLst>
            <pc:docMk/>
            <pc:sldMk cId="2846901679" sldId="256"/>
            <ac:cxnSpMk id="10" creationId="{13EFA7DF-2E74-6B37-435B-B8B810175C14}"/>
          </ac:cxnSpMkLst>
        </pc:cxnChg>
      </pc:sldChg>
      <pc:sldChg chg="addSp delSp modSp mod ord">
        <pc:chgData name="Roberto Gallardo" userId="49a044883f185952" providerId="LiveId" clId="{F4D957F6-5F28-4DDF-9F2A-0CB3D547903A}" dt="2022-07-09T11:55:07.064" v="2612"/>
        <pc:sldMkLst>
          <pc:docMk/>
          <pc:sldMk cId="3231157596" sldId="257"/>
        </pc:sldMkLst>
        <pc:spChg chg="mod">
          <ac:chgData name="Roberto Gallardo" userId="49a044883f185952" providerId="LiveId" clId="{F4D957F6-5F28-4DDF-9F2A-0CB3D547903A}" dt="2022-07-09T11:54:42.016" v="2593" actId="20577"/>
          <ac:spMkLst>
            <pc:docMk/>
            <pc:sldMk cId="3231157596" sldId="257"/>
            <ac:spMk id="2" creationId="{C03B1400-5F72-D252-1DBE-EDCD6E63B07C}"/>
          </ac:spMkLst>
        </pc:spChg>
        <pc:spChg chg="del">
          <ac:chgData name="Roberto Gallardo" userId="49a044883f185952" providerId="LiveId" clId="{F4D957F6-5F28-4DDF-9F2A-0CB3D547903A}" dt="2022-07-04T13:39:45.487" v="345" actId="1957"/>
          <ac:spMkLst>
            <pc:docMk/>
            <pc:sldMk cId="3231157596" sldId="257"/>
            <ac:spMk id="3" creationId="{BB89FF67-5405-7219-AC78-B72632AA2706}"/>
          </ac:spMkLst>
        </pc:spChg>
        <pc:spChg chg="add mod">
          <ac:chgData name="Roberto Gallardo" userId="49a044883f185952" providerId="LiveId" clId="{F4D957F6-5F28-4DDF-9F2A-0CB3D547903A}" dt="2022-07-04T13:41:42.746" v="397" actId="1076"/>
          <ac:spMkLst>
            <pc:docMk/>
            <pc:sldMk cId="3231157596" sldId="257"/>
            <ac:spMk id="8" creationId="{40AF43CC-DD34-B66D-2100-C70E6AB3ED53}"/>
          </ac:spMkLst>
        </pc:spChg>
        <pc:graphicFrameChg chg="add mod">
          <ac:chgData name="Roberto Gallardo" userId="49a044883f185952" providerId="LiveId" clId="{F4D957F6-5F28-4DDF-9F2A-0CB3D547903A}" dt="2022-07-05T23:58:48.836" v="1184" actId="14100"/>
          <ac:graphicFrameMkLst>
            <pc:docMk/>
            <pc:sldMk cId="3231157596" sldId="257"/>
            <ac:graphicFrameMk id="7" creationId="{9B61CC2F-17D9-E6A9-D1A8-11B47E6F047B}"/>
          </ac:graphicFrameMkLst>
        </pc:graphicFrameChg>
        <pc:picChg chg="add del mod">
          <ac:chgData name="Roberto Gallardo" userId="49a044883f185952" providerId="LiveId" clId="{F4D957F6-5F28-4DDF-9F2A-0CB3D547903A}" dt="2022-07-09T11:54:39.316" v="2585" actId="478"/>
          <ac:picMkLst>
            <pc:docMk/>
            <pc:sldMk cId="3231157596" sldId="257"/>
            <ac:picMk id="6" creationId="{A066F754-BB92-7857-D47A-698FA143DEC6}"/>
          </ac:picMkLst>
        </pc:picChg>
        <pc:picChg chg="add mod">
          <ac:chgData name="Roberto Gallardo" userId="49a044883f185952" providerId="LiveId" clId="{F4D957F6-5F28-4DDF-9F2A-0CB3D547903A}" dt="2022-07-09T11:55:07.064" v="2612"/>
          <ac:picMkLst>
            <pc:docMk/>
            <pc:sldMk cId="3231157596" sldId="257"/>
            <ac:picMk id="9" creationId="{4C80B7C1-B3BA-2E43-C7BF-799C557FB131}"/>
          </ac:picMkLst>
        </pc:picChg>
      </pc:sldChg>
      <pc:sldChg chg="new del">
        <pc:chgData name="Roberto Gallardo" userId="49a044883f185952" providerId="LiveId" clId="{F4D957F6-5F28-4DDF-9F2A-0CB3D547903A}" dt="2022-07-04T13:41:51.981" v="399" actId="47"/>
        <pc:sldMkLst>
          <pc:docMk/>
          <pc:sldMk cId="1694346498" sldId="258"/>
        </pc:sldMkLst>
      </pc:sldChg>
      <pc:sldChg chg="addSp delSp modSp add mod">
        <pc:chgData name="Roberto Gallardo" userId="49a044883f185952" providerId="LiveId" clId="{F4D957F6-5F28-4DDF-9F2A-0CB3D547903A}" dt="2022-07-09T11:55:09.178" v="2614"/>
        <pc:sldMkLst>
          <pc:docMk/>
          <pc:sldMk cId="3702837515" sldId="258"/>
        </pc:sldMkLst>
        <pc:spChg chg="mod">
          <ac:chgData name="Roberto Gallardo" userId="49a044883f185952" providerId="LiveId" clId="{F4D957F6-5F28-4DDF-9F2A-0CB3D547903A}" dt="2022-07-09T11:55:01.099" v="2611" actId="20577"/>
          <ac:spMkLst>
            <pc:docMk/>
            <pc:sldMk cId="3702837515" sldId="258"/>
            <ac:spMk id="2" creationId="{C03B1400-5F72-D252-1DBE-EDCD6E63B07C}"/>
          </ac:spMkLst>
        </pc:spChg>
        <pc:spChg chg="add del mod">
          <ac:chgData name="Roberto Gallardo" userId="49a044883f185952" providerId="LiveId" clId="{F4D957F6-5F28-4DDF-9F2A-0CB3D547903A}" dt="2022-07-04T14:05:16.775" v="615" actId="478"/>
          <ac:spMkLst>
            <pc:docMk/>
            <pc:sldMk cId="3702837515" sldId="258"/>
            <ac:spMk id="5" creationId="{F35BA5B5-F5A8-11C3-6476-93C43D67E9F8}"/>
          </ac:spMkLst>
        </pc:spChg>
        <pc:graphicFrameChg chg="del">
          <ac:chgData name="Roberto Gallardo" userId="49a044883f185952" providerId="LiveId" clId="{F4D957F6-5F28-4DDF-9F2A-0CB3D547903A}" dt="2022-07-04T14:05:04.265" v="612" actId="478"/>
          <ac:graphicFrameMkLst>
            <pc:docMk/>
            <pc:sldMk cId="3702837515" sldId="258"/>
            <ac:graphicFrameMk id="7" creationId="{9B61CC2F-17D9-E6A9-D1A8-11B47E6F047B}"/>
          </ac:graphicFrameMkLst>
        </pc:graphicFrameChg>
        <pc:graphicFrameChg chg="add mod ord">
          <ac:chgData name="Roberto Gallardo" userId="49a044883f185952" providerId="LiveId" clId="{F4D957F6-5F28-4DDF-9F2A-0CB3D547903A}" dt="2022-07-05T23:58:30.651" v="1172" actId="14100"/>
          <ac:graphicFrameMkLst>
            <pc:docMk/>
            <pc:sldMk cId="3702837515" sldId="258"/>
            <ac:graphicFrameMk id="9" creationId="{A966EEC7-83EF-771C-E559-BAB55F5A621C}"/>
          </ac:graphicFrameMkLst>
        </pc:graphicFrameChg>
        <pc:picChg chg="add del mod">
          <ac:chgData name="Roberto Gallardo" userId="49a044883f185952" providerId="LiveId" clId="{F4D957F6-5F28-4DDF-9F2A-0CB3D547903A}" dt="2022-07-09T11:54:58.115" v="2603" actId="478"/>
          <ac:picMkLst>
            <pc:docMk/>
            <pc:sldMk cId="3702837515" sldId="258"/>
            <ac:picMk id="6" creationId="{792D06A5-5E8D-87EF-CADE-3B4698056979}"/>
          </ac:picMkLst>
        </pc:picChg>
        <pc:picChg chg="add mod">
          <ac:chgData name="Roberto Gallardo" userId="49a044883f185952" providerId="LiveId" clId="{F4D957F6-5F28-4DDF-9F2A-0CB3D547903A}" dt="2022-07-09T11:55:09.178" v="2614"/>
          <ac:picMkLst>
            <pc:docMk/>
            <pc:sldMk cId="3702837515" sldId="258"/>
            <ac:picMk id="7" creationId="{3635A42C-C9F1-DAA3-7FE7-1EB8257A0E2E}"/>
          </ac:picMkLst>
        </pc:picChg>
      </pc:sldChg>
      <pc:sldChg chg="addSp delSp modSp add mod">
        <pc:chgData name="Roberto Gallardo" userId="49a044883f185952" providerId="LiveId" clId="{F4D957F6-5F28-4DDF-9F2A-0CB3D547903A}" dt="2022-07-09T11:55:08.354" v="2613"/>
        <pc:sldMkLst>
          <pc:docMk/>
          <pc:sldMk cId="2519083202" sldId="259"/>
        </pc:sldMkLst>
        <pc:spChg chg="mod">
          <ac:chgData name="Roberto Gallardo" userId="49a044883f185952" providerId="LiveId" clId="{F4D957F6-5F28-4DDF-9F2A-0CB3D547903A}" dt="2022-07-09T11:54:51.839" v="2602" actId="20577"/>
          <ac:spMkLst>
            <pc:docMk/>
            <pc:sldMk cId="2519083202" sldId="259"/>
            <ac:spMk id="2" creationId="{C03B1400-5F72-D252-1DBE-EDCD6E63B07C}"/>
          </ac:spMkLst>
        </pc:spChg>
        <pc:spChg chg="add del mod">
          <ac:chgData name="Roberto Gallardo" userId="49a044883f185952" providerId="LiveId" clId="{F4D957F6-5F28-4DDF-9F2A-0CB3D547903A}" dt="2022-07-04T14:05:26.242" v="617" actId="478"/>
          <ac:spMkLst>
            <pc:docMk/>
            <pc:sldMk cId="2519083202" sldId="259"/>
            <ac:spMk id="5" creationId="{E4522086-734A-4751-2DD8-F953C4A9B319}"/>
          </ac:spMkLst>
        </pc:spChg>
        <pc:graphicFrameChg chg="del">
          <ac:chgData name="Roberto Gallardo" userId="49a044883f185952" providerId="LiveId" clId="{F4D957F6-5F28-4DDF-9F2A-0CB3D547903A}" dt="2022-07-04T14:05:22.960" v="616" actId="478"/>
          <ac:graphicFrameMkLst>
            <pc:docMk/>
            <pc:sldMk cId="2519083202" sldId="259"/>
            <ac:graphicFrameMk id="7" creationId="{9B61CC2F-17D9-E6A9-D1A8-11B47E6F047B}"/>
          </ac:graphicFrameMkLst>
        </pc:graphicFrameChg>
        <pc:graphicFrameChg chg="add mod">
          <ac:chgData name="Roberto Gallardo" userId="49a044883f185952" providerId="LiveId" clId="{F4D957F6-5F28-4DDF-9F2A-0CB3D547903A}" dt="2022-07-05T23:58:39.611" v="1178" actId="14100"/>
          <ac:graphicFrameMkLst>
            <pc:docMk/>
            <pc:sldMk cId="2519083202" sldId="259"/>
            <ac:graphicFrameMk id="9" creationId="{BF6DEC76-8E72-6168-70C1-6709AC56F21B}"/>
          </ac:graphicFrameMkLst>
        </pc:graphicFrameChg>
        <pc:picChg chg="add del mod">
          <ac:chgData name="Roberto Gallardo" userId="49a044883f185952" providerId="LiveId" clId="{F4D957F6-5F28-4DDF-9F2A-0CB3D547903A}" dt="2022-07-09T11:54:48.226" v="2594" actId="478"/>
          <ac:picMkLst>
            <pc:docMk/>
            <pc:sldMk cId="2519083202" sldId="259"/>
            <ac:picMk id="6" creationId="{6381212E-2096-E773-174F-A570491440D3}"/>
          </ac:picMkLst>
        </pc:picChg>
        <pc:picChg chg="add mod">
          <ac:chgData name="Roberto Gallardo" userId="49a044883f185952" providerId="LiveId" clId="{F4D957F6-5F28-4DDF-9F2A-0CB3D547903A}" dt="2022-07-09T11:55:08.354" v="2613"/>
          <ac:picMkLst>
            <pc:docMk/>
            <pc:sldMk cId="2519083202" sldId="259"/>
            <ac:picMk id="7" creationId="{67FD3867-05D1-0561-5CAF-29C1272358C1}"/>
          </ac:picMkLst>
        </pc:picChg>
      </pc:sldChg>
      <pc:sldChg chg="addSp modSp add mod ord">
        <pc:chgData name="Roberto Gallardo" userId="49a044883f185952" providerId="LiveId" clId="{F4D957F6-5F28-4DDF-9F2A-0CB3D547903A}" dt="2022-07-09T14:08:09.643" v="8165" actId="27918"/>
        <pc:sldMkLst>
          <pc:docMk/>
          <pc:sldMk cId="3877078759" sldId="260"/>
        </pc:sldMkLst>
        <pc:spChg chg="mod">
          <ac:chgData name="Roberto Gallardo" userId="49a044883f185952" providerId="LiveId" clId="{F4D957F6-5F28-4DDF-9F2A-0CB3D547903A}" dt="2022-07-05T23:58:19.248" v="1165" actId="1035"/>
          <ac:spMkLst>
            <pc:docMk/>
            <pc:sldMk cId="3877078759" sldId="260"/>
            <ac:spMk id="2" creationId="{C03B1400-5F72-D252-1DBE-EDCD6E63B07C}"/>
          </ac:spMkLst>
        </pc:spChg>
        <pc:spChg chg="mod">
          <ac:chgData name="Roberto Gallardo" userId="49a044883f185952" providerId="LiveId" clId="{F4D957F6-5F28-4DDF-9F2A-0CB3D547903A}" dt="2022-07-04T14:03:41.734" v="601" actId="20577"/>
          <ac:spMkLst>
            <pc:docMk/>
            <pc:sldMk cId="3877078759" sldId="260"/>
            <ac:spMk id="8" creationId="{40AF43CC-DD34-B66D-2100-C70E6AB3ED53}"/>
          </ac:spMkLst>
        </pc:spChg>
        <pc:graphicFrameChg chg="mod">
          <ac:chgData name="Roberto Gallardo" userId="49a044883f185952" providerId="LiveId" clId="{F4D957F6-5F28-4DDF-9F2A-0CB3D547903A}" dt="2022-07-05T23:58:23.023" v="1166" actId="14100"/>
          <ac:graphicFrameMkLst>
            <pc:docMk/>
            <pc:sldMk cId="3877078759" sldId="260"/>
            <ac:graphicFrameMk id="7" creationId="{9B61CC2F-17D9-E6A9-D1A8-11B47E6F047B}"/>
          </ac:graphicFrameMkLst>
        </pc:graphicFrameChg>
        <pc:picChg chg="add mod ord">
          <ac:chgData name="Roberto Gallardo" userId="49a044883f185952" providerId="LiveId" clId="{F4D957F6-5F28-4DDF-9F2A-0CB3D547903A}" dt="2022-07-09T11:31:30.037" v="2096" actId="29295"/>
          <ac:picMkLst>
            <pc:docMk/>
            <pc:sldMk cId="3877078759" sldId="260"/>
            <ac:picMk id="6" creationId="{7454CA65-C29D-E836-52C1-21A108BA680B}"/>
          </ac:picMkLst>
        </pc:picChg>
      </pc:sldChg>
      <pc:sldChg chg="addSp delSp modSp add mod">
        <pc:chgData name="Roberto Gallardo" userId="49a044883f185952" providerId="LiveId" clId="{F4D957F6-5F28-4DDF-9F2A-0CB3D547903A}" dt="2022-07-09T11:54:28.530" v="2584"/>
        <pc:sldMkLst>
          <pc:docMk/>
          <pc:sldMk cId="1175010214" sldId="261"/>
        </pc:sldMkLst>
        <pc:spChg chg="mod">
          <ac:chgData name="Roberto Gallardo" userId="49a044883f185952" providerId="LiveId" clId="{F4D957F6-5F28-4DDF-9F2A-0CB3D547903A}" dt="2022-07-09T11:54:22.180" v="2583" actId="20577"/>
          <ac:spMkLst>
            <pc:docMk/>
            <pc:sldMk cId="1175010214" sldId="261"/>
            <ac:spMk id="2" creationId="{C03B1400-5F72-D252-1DBE-EDCD6E63B07C}"/>
          </ac:spMkLst>
        </pc:spChg>
        <pc:spChg chg="add del mod">
          <ac:chgData name="Roberto Gallardo" userId="49a044883f185952" providerId="LiveId" clId="{F4D957F6-5F28-4DDF-9F2A-0CB3D547903A}" dt="2022-07-04T19:52:10.731" v="813" actId="478"/>
          <ac:spMkLst>
            <pc:docMk/>
            <pc:sldMk cId="1175010214" sldId="261"/>
            <ac:spMk id="5" creationId="{F8729B19-6423-02C3-801F-FC09391B0E22}"/>
          </ac:spMkLst>
        </pc:spChg>
        <pc:graphicFrameChg chg="del">
          <ac:chgData name="Roberto Gallardo" userId="49a044883f185952" providerId="LiveId" clId="{F4D957F6-5F28-4DDF-9F2A-0CB3D547903A}" dt="2022-07-04T19:52:08.068" v="812" actId="478"/>
          <ac:graphicFrameMkLst>
            <pc:docMk/>
            <pc:sldMk cId="1175010214" sldId="261"/>
            <ac:graphicFrameMk id="7" creationId="{9B61CC2F-17D9-E6A9-D1A8-11B47E6F047B}"/>
          </ac:graphicFrameMkLst>
        </pc:graphicFrameChg>
        <pc:graphicFrameChg chg="add mod">
          <ac:chgData name="Roberto Gallardo" userId="49a044883f185952" providerId="LiveId" clId="{F4D957F6-5F28-4DDF-9F2A-0CB3D547903A}" dt="2022-07-05T23:58:58.484" v="1190" actId="14100"/>
          <ac:graphicFrameMkLst>
            <pc:docMk/>
            <pc:sldMk cId="1175010214" sldId="261"/>
            <ac:graphicFrameMk id="10" creationId="{FD2FC231-ACEF-5FF2-C4CE-DFF89EB85588}"/>
          </ac:graphicFrameMkLst>
        </pc:graphicFrameChg>
        <pc:picChg chg="add del mod">
          <ac:chgData name="Roberto Gallardo" userId="49a044883f185952" providerId="LiveId" clId="{F4D957F6-5F28-4DDF-9F2A-0CB3D547903A}" dt="2022-07-09T11:54:17.610" v="2579" actId="478"/>
          <ac:picMkLst>
            <pc:docMk/>
            <pc:sldMk cId="1175010214" sldId="261"/>
            <ac:picMk id="6" creationId="{F6A5490A-A5E9-61BB-9097-88457932C0C3}"/>
          </ac:picMkLst>
        </pc:picChg>
        <pc:picChg chg="add mod">
          <ac:chgData name="Roberto Gallardo" userId="49a044883f185952" providerId="LiveId" clId="{F4D957F6-5F28-4DDF-9F2A-0CB3D547903A}" dt="2022-07-09T11:54:28.530" v="2584"/>
          <ac:picMkLst>
            <pc:docMk/>
            <pc:sldMk cId="1175010214" sldId="261"/>
            <ac:picMk id="7" creationId="{A7EE6CAD-9CCE-2BE9-847E-C3EEA2C6DFDF}"/>
          </ac:picMkLst>
        </pc:picChg>
      </pc:sldChg>
      <pc:sldChg chg="new del">
        <pc:chgData name="Roberto Gallardo" userId="49a044883f185952" providerId="LiveId" clId="{F4D957F6-5F28-4DDF-9F2A-0CB3D547903A}" dt="2022-07-05T23:36:44.069" v="870" actId="47"/>
        <pc:sldMkLst>
          <pc:docMk/>
          <pc:sldMk cId="374676176" sldId="262"/>
        </pc:sldMkLst>
      </pc:sldChg>
      <pc:sldChg chg="addSp delSp modSp add del mod">
        <pc:chgData name="Roberto Gallardo" userId="49a044883f185952" providerId="LiveId" clId="{F4D957F6-5F28-4DDF-9F2A-0CB3D547903A}" dt="2022-07-04T23:52:27.439" v="868" actId="47"/>
        <pc:sldMkLst>
          <pc:docMk/>
          <pc:sldMk cId="2406181170" sldId="262"/>
        </pc:sldMkLst>
        <pc:graphicFrameChg chg="del">
          <ac:chgData name="Roberto Gallardo" userId="49a044883f185952" providerId="LiveId" clId="{F4D957F6-5F28-4DDF-9F2A-0CB3D547903A}" dt="2022-07-04T20:37:30.519" v="864" actId="478"/>
          <ac:graphicFrameMkLst>
            <pc:docMk/>
            <pc:sldMk cId="2406181170" sldId="262"/>
            <ac:graphicFrameMk id="10" creationId="{FD2FC231-ACEF-5FF2-C4CE-DFF89EB85588}"/>
          </ac:graphicFrameMkLst>
        </pc:graphicFrameChg>
        <pc:picChg chg="add del mod">
          <ac:chgData name="Roberto Gallardo" userId="49a044883f185952" providerId="LiveId" clId="{F4D957F6-5F28-4DDF-9F2A-0CB3D547903A}" dt="2022-07-04T20:37:37.475" v="867" actId="478"/>
          <ac:picMkLst>
            <pc:docMk/>
            <pc:sldMk cId="2406181170" sldId="262"/>
            <ac:picMk id="5" creationId="{DBDCDB6D-D59A-1816-23E8-1A051896D947}"/>
          </ac:picMkLst>
        </pc:picChg>
      </pc:sldChg>
      <pc:sldChg chg="addSp delSp modSp add mod">
        <pc:chgData name="Roberto Gallardo" userId="49a044883f185952" providerId="LiveId" clId="{F4D957F6-5F28-4DDF-9F2A-0CB3D547903A}" dt="2022-07-09T15:00:57.360" v="8199"/>
        <pc:sldMkLst>
          <pc:docMk/>
          <pc:sldMk cId="3490389620" sldId="262"/>
        </pc:sldMkLst>
        <pc:spChg chg="mod">
          <ac:chgData name="Roberto Gallardo" userId="49a044883f185952" providerId="LiveId" clId="{F4D957F6-5F28-4DDF-9F2A-0CB3D547903A}" dt="2022-07-05T23:59:09.167" v="1195" actId="1035"/>
          <ac:spMkLst>
            <pc:docMk/>
            <pc:sldMk cId="3490389620" sldId="262"/>
            <ac:spMk id="2" creationId="{C03B1400-5F72-D252-1DBE-EDCD6E63B07C}"/>
          </ac:spMkLst>
        </pc:spChg>
        <pc:graphicFrameChg chg="del">
          <ac:chgData name="Roberto Gallardo" userId="49a044883f185952" providerId="LiveId" clId="{F4D957F6-5F28-4DDF-9F2A-0CB3D547903A}" dt="2022-07-05T23:36:50.780" v="872" actId="478"/>
          <ac:graphicFrameMkLst>
            <pc:docMk/>
            <pc:sldMk cId="3490389620" sldId="262"/>
            <ac:graphicFrameMk id="10" creationId="{FD2FC231-ACEF-5FF2-C4CE-DFF89EB85588}"/>
          </ac:graphicFrameMkLst>
        </pc:graphicFrameChg>
        <pc:graphicFrameChg chg="add mod">
          <ac:chgData name="Roberto Gallardo" userId="49a044883f185952" providerId="LiveId" clId="{F4D957F6-5F28-4DDF-9F2A-0CB3D547903A}" dt="2022-07-05T23:47:46.159" v="965" actId="14100"/>
          <ac:graphicFrameMkLst>
            <pc:docMk/>
            <pc:sldMk cId="3490389620" sldId="262"/>
            <ac:graphicFrameMk id="12" creationId="{DABF0741-AD27-F6EC-F006-1930AC38E762}"/>
          </ac:graphicFrameMkLst>
        </pc:graphicFrameChg>
        <pc:picChg chg="add del mod">
          <ac:chgData name="Roberto Gallardo" userId="49a044883f185952" providerId="LiveId" clId="{F4D957F6-5F28-4DDF-9F2A-0CB3D547903A}" dt="2022-07-05T23:39:47.371" v="922" actId="478"/>
          <ac:picMkLst>
            <pc:docMk/>
            <pc:sldMk cId="3490389620" sldId="262"/>
            <ac:picMk id="5" creationId="{AACA0CCE-BC2B-2BF5-977B-B9460A4BA9E4}"/>
          </ac:picMkLst>
        </pc:picChg>
        <pc:picChg chg="add del mod">
          <ac:chgData name="Roberto Gallardo" userId="49a044883f185952" providerId="LiveId" clId="{F4D957F6-5F28-4DDF-9F2A-0CB3D547903A}" dt="2022-07-09T14:56:13.616" v="8180" actId="478"/>
          <ac:picMkLst>
            <pc:docMk/>
            <pc:sldMk cId="3490389620" sldId="262"/>
            <ac:picMk id="7" creationId="{05BEC296-D136-61E4-9645-991475DD4033}"/>
          </ac:picMkLst>
        </pc:picChg>
        <pc:picChg chg="add del mod ord">
          <ac:chgData name="Roberto Gallardo" userId="49a044883f185952" providerId="LiveId" clId="{F4D957F6-5F28-4DDF-9F2A-0CB3D547903A}" dt="2022-07-05T23:54:55.571" v="1086" actId="478"/>
          <ac:picMkLst>
            <pc:docMk/>
            <pc:sldMk cId="3490389620" sldId="262"/>
            <ac:picMk id="7" creationId="{0F2FC452-A036-55DB-A45E-B0BD71C927E0}"/>
          </ac:picMkLst>
        </pc:picChg>
        <pc:picChg chg="add mod">
          <ac:chgData name="Roberto Gallardo" userId="49a044883f185952" providerId="LiveId" clId="{F4D957F6-5F28-4DDF-9F2A-0CB3D547903A}" dt="2022-07-09T15:00:57.360" v="8199"/>
          <ac:picMkLst>
            <pc:docMk/>
            <pc:sldMk cId="3490389620" sldId="262"/>
            <ac:picMk id="9" creationId="{40A36035-9B52-D1D4-A560-EC18D0BAF6E7}"/>
          </ac:picMkLst>
        </pc:picChg>
        <pc:picChg chg="add del mod">
          <ac:chgData name="Roberto Gallardo" userId="49a044883f185952" providerId="LiveId" clId="{F4D957F6-5F28-4DDF-9F2A-0CB3D547903A}" dt="2022-07-06T00:00:21.051" v="1201" actId="478"/>
          <ac:picMkLst>
            <pc:docMk/>
            <pc:sldMk cId="3490389620" sldId="262"/>
            <ac:picMk id="14" creationId="{DAB8A7CB-284C-E555-E0FE-AED8C5C708FC}"/>
          </ac:picMkLst>
        </pc:picChg>
        <pc:picChg chg="add mod">
          <ac:chgData name="Roberto Gallardo" userId="49a044883f185952" providerId="LiveId" clId="{F4D957F6-5F28-4DDF-9F2A-0CB3D547903A}" dt="2022-07-06T00:01:36.275" v="1266" actId="1038"/>
          <ac:picMkLst>
            <pc:docMk/>
            <pc:sldMk cId="3490389620" sldId="262"/>
            <ac:picMk id="16" creationId="{532B7758-F2FB-D91F-D115-90D2274360A1}"/>
          </ac:picMkLst>
        </pc:picChg>
      </pc:sldChg>
      <pc:sldChg chg="addSp delSp modSp add mod">
        <pc:chgData name="Roberto Gallardo" userId="49a044883f185952" providerId="LiveId" clId="{F4D957F6-5F28-4DDF-9F2A-0CB3D547903A}" dt="2022-07-09T15:02:33.224" v="8212"/>
        <pc:sldMkLst>
          <pc:docMk/>
          <pc:sldMk cId="77472702" sldId="263"/>
        </pc:sldMkLst>
        <pc:spChg chg="mod">
          <ac:chgData name="Roberto Gallardo" userId="49a044883f185952" providerId="LiveId" clId="{F4D957F6-5F28-4DDF-9F2A-0CB3D547903A}" dt="2022-07-05T23:59:14.066" v="1200" actId="1035"/>
          <ac:spMkLst>
            <pc:docMk/>
            <pc:sldMk cId="77472702" sldId="263"/>
            <ac:spMk id="2" creationId="{C03B1400-5F72-D252-1DBE-EDCD6E63B07C}"/>
          </ac:spMkLst>
        </pc:spChg>
        <pc:picChg chg="add mod">
          <ac:chgData name="Roberto Gallardo" userId="49a044883f185952" providerId="LiveId" clId="{F4D957F6-5F28-4DDF-9F2A-0CB3D547903A}" dt="2022-07-09T15:02:26.688" v="8211" actId="1038"/>
          <ac:picMkLst>
            <pc:docMk/>
            <pc:sldMk cId="77472702" sldId="263"/>
            <ac:picMk id="5" creationId="{303AB224-E49B-E891-8C0A-4A735046CFEA}"/>
          </ac:picMkLst>
        </pc:picChg>
        <pc:picChg chg="add del mod">
          <ac:chgData name="Roberto Gallardo" userId="49a044883f185952" providerId="LiveId" clId="{F4D957F6-5F28-4DDF-9F2A-0CB3D547903A}" dt="2022-07-05T23:53:47.139" v="1028" actId="478"/>
          <ac:picMkLst>
            <pc:docMk/>
            <pc:sldMk cId="77472702" sldId="263"/>
            <ac:picMk id="5" creationId="{740E0DC0-2CE3-886F-3E34-286C9D9408DC}"/>
          </ac:picMkLst>
        </pc:picChg>
        <pc:picChg chg="add del mod">
          <ac:chgData name="Roberto Gallardo" userId="49a044883f185952" providerId="LiveId" clId="{F4D957F6-5F28-4DDF-9F2A-0CB3D547903A}" dt="2022-07-09T14:56:15.666" v="8181" actId="478"/>
          <ac:picMkLst>
            <pc:docMk/>
            <pc:sldMk cId="77472702" sldId="263"/>
            <ac:picMk id="7" creationId="{097170E3-8F85-A0B5-51FE-1F6BF9C95AC3}"/>
          </ac:picMkLst>
        </pc:picChg>
        <pc:picChg chg="del">
          <ac:chgData name="Roberto Gallardo" userId="49a044883f185952" providerId="LiveId" clId="{F4D957F6-5F28-4DDF-9F2A-0CB3D547903A}" dt="2022-07-05T23:49:13.216" v="985" actId="478"/>
          <ac:picMkLst>
            <pc:docMk/>
            <pc:sldMk cId="77472702" sldId="263"/>
            <ac:picMk id="7" creationId="{0F2FC452-A036-55DB-A45E-B0BD71C927E0}"/>
          </ac:picMkLst>
        </pc:picChg>
        <pc:picChg chg="add del mod">
          <ac:chgData name="Roberto Gallardo" userId="49a044883f185952" providerId="LiveId" clId="{F4D957F6-5F28-4DDF-9F2A-0CB3D547903A}" dt="2022-07-09T15:01:31.002" v="8200" actId="478"/>
          <ac:picMkLst>
            <pc:docMk/>
            <pc:sldMk cId="77472702" sldId="263"/>
            <ac:picMk id="9" creationId="{1B0BC584-9937-A428-5CAB-14C5213AF2AA}"/>
          </ac:picMkLst>
        </pc:picChg>
        <pc:picChg chg="add mod">
          <ac:chgData name="Roberto Gallardo" userId="49a044883f185952" providerId="LiveId" clId="{F4D957F6-5F28-4DDF-9F2A-0CB3D547903A}" dt="2022-07-09T15:02:33.224" v="8212"/>
          <ac:picMkLst>
            <pc:docMk/>
            <pc:sldMk cId="77472702" sldId="263"/>
            <ac:picMk id="10" creationId="{E3CBDF83-C9E0-8DEA-6624-BCD9FB8AFD58}"/>
          </ac:picMkLst>
        </pc:picChg>
      </pc:sldChg>
      <pc:sldChg chg="addSp delSp modSp add mod">
        <pc:chgData name="Roberto Gallardo" userId="49a044883f185952" providerId="LiveId" clId="{F4D957F6-5F28-4DDF-9F2A-0CB3D547903A}" dt="2022-07-09T15:04:25.416" v="8231"/>
        <pc:sldMkLst>
          <pc:docMk/>
          <pc:sldMk cId="1409358877" sldId="264"/>
        </pc:sldMkLst>
        <pc:spChg chg="mod">
          <ac:chgData name="Roberto Gallardo" userId="49a044883f185952" providerId="LiveId" clId="{F4D957F6-5F28-4DDF-9F2A-0CB3D547903A}" dt="2022-07-06T00:04:10.710" v="1285" actId="20577"/>
          <ac:spMkLst>
            <pc:docMk/>
            <pc:sldMk cId="1409358877" sldId="264"/>
            <ac:spMk id="2" creationId="{C03B1400-5F72-D252-1DBE-EDCD6E63B07C}"/>
          </ac:spMkLst>
        </pc:spChg>
        <pc:picChg chg="add del mod">
          <ac:chgData name="Roberto Gallardo" userId="49a044883f185952" providerId="LiveId" clId="{F4D957F6-5F28-4DDF-9F2A-0CB3D547903A}" dt="2022-07-09T15:03:45.536" v="8220" actId="478"/>
          <ac:picMkLst>
            <pc:docMk/>
            <pc:sldMk cId="1409358877" sldId="264"/>
            <ac:picMk id="5" creationId="{5A13C3AD-A815-DC65-CF6C-5595609406F4}"/>
          </ac:picMkLst>
        </pc:picChg>
        <pc:picChg chg="add mod">
          <ac:chgData name="Roberto Gallardo" userId="49a044883f185952" providerId="LiveId" clId="{F4D957F6-5F28-4DDF-9F2A-0CB3D547903A}" dt="2022-07-09T15:04:18.992" v="8230" actId="1038"/>
          <ac:picMkLst>
            <pc:docMk/>
            <pc:sldMk cId="1409358877" sldId="264"/>
            <ac:picMk id="6" creationId="{817F9E4A-4025-B392-AFF8-B9D5E4039647}"/>
          </ac:picMkLst>
        </pc:picChg>
        <pc:picChg chg="add del mod">
          <ac:chgData name="Roberto Gallardo" userId="49a044883f185952" providerId="LiveId" clId="{F4D957F6-5F28-4DDF-9F2A-0CB3D547903A}" dt="2022-07-09T15:02:37.400" v="8213" actId="478"/>
          <ac:picMkLst>
            <pc:docMk/>
            <pc:sldMk cId="1409358877" sldId="264"/>
            <ac:picMk id="7" creationId="{FE5BA307-5820-82B8-8DB0-C5B1DFF2F359}"/>
          </ac:picMkLst>
        </pc:picChg>
        <pc:picChg chg="del">
          <ac:chgData name="Roberto Gallardo" userId="49a044883f185952" providerId="LiveId" clId="{F4D957F6-5F28-4DDF-9F2A-0CB3D547903A}" dt="2022-07-06T00:05:54.775" v="1286" actId="478"/>
          <ac:picMkLst>
            <pc:docMk/>
            <pc:sldMk cId="1409358877" sldId="264"/>
            <ac:picMk id="9" creationId="{1B0BC584-9937-A428-5CAB-14C5213AF2AA}"/>
          </ac:picMkLst>
        </pc:picChg>
        <pc:picChg chg="add mod">
          <ac:chgData name="Roberto Gallardo" userId="49a044883f185952" providerId="LiveId" clId="{F4D957F6-5F28-4DDF-9F2A-0CB3D547903A}" dt="2022-07-09T15:04:25.416" v="8231"/>
          <ac:picMkLst>
            <pc:docMk/>
            <pc:sldMk cId="1409358877" sldId="264"/>
            <ac:picMk id="10" creationId="{4FA3A5ED-9527-3CBE-0201-008BF921D18E}"/>
          </ac:picMkLst>
        </pc:picChg>
      </pc:sldChg>
      <pc:sldChg chg="addSp delSp modSp add mod">
        <pc:chgData name="Roberto Gallardo" userId="49a044883f185952" providerId="LiveId" clId="{F4D957F6-5F28-4DDF-9F2A-0CB3D547903A}" dt="2022-07-09T15:05:04.400" v="8232"/>
        <pc:sldMkLst>
          <pc:docMk/>
          <pc:sldMk cId="2546441270" sldId="265"/>
        </pc:sldMkLst>
        <pc:spChg chg="mod">
          <ac:chgData name="Roberto Gallardo" userId="49a044883f185952" providerId="LiveId" clId="{F4D957F6-5F28-4DDF-9F2A-0CB3D547903A}" dt="2022-07-06T00:09:26.194" v="1363" actId="20577"/>
          <ac:spMkLst>
            <pc:docMk/>
            <pc:sldMk cId="2546441270" sldId="265"/>
            <ac:spMk id="2" creationId="{C03B1400-5F72-D252-1DBE-EDCD6E63B07C}"/>
          </ac:spMkLst>
        </pc:spChg>
        <pc:picChg chg="del">
          <ac:chgData name="Roberto Gallardo" userId="49a044883f185952" providerId="LiveId" clId="{F4D957F6-5F28-4DDF-9F2A-0CB3D547903A}" dt="2022-07-06T00:11:28.158" v="1369" actId="478"/>
          <ac:picMkLst>
            <pc:docMk/>
            <pc:sldMk cId="2546441270" sldId="265"/>
            <ac:picMk id="5" creationId="{5A13C3AD-A815-DC65-CF6C-5595609406F4}"/>
          </ac:picMkLst>
        </pc:picChg>
        <pc:picChg chg="add mod">
          <ac:chgData name="Roberto Gallardo" userId="49a044883f185952" providerId="LiveId" clId="{F4D957F6-5F28-4DDF-9F2A-0CB3D547903A}" dt="2022-07-06T22:26:18.291" v="1515" actId="1038"/>
          <ac:picMkLst>
            <pc:docMk/>
            <pc:sldMk cId="2546441270" sldId="265"/>
            <ac:picMk id="6" creationId="{B3E748F8-FB72-5130-50B9-55FFFF992B0F}"/>
          </ac:picMkLst>
        </pc:picChg>
        <pc:picChg chg="add del mod">
          <ac:chgData name="Roberto Gallardo" userId="49a044883f185952" providerId="LiveId" clId="{F4D957F6-5F28-4DDF-9F2A-0CB3D547903A}" dt="2022-07-09T15:02:40.416" v="8214" actId="478"/>
          <ac:picMkLst>
            <pc:docMk/>
            <pc:sldMk cId="2546441270" sldId="265"/>
            <ac:picMk id="7" creationId="{9F8E6FF6-1987-2E62-8145-F2E24A6FF961}"/>
          </ac:picMkLst>
        </pc:picChg>
        <pc:picChg chg="add mod">
          <ac:chgData name="Roberto Gallardo" userId="49a044883f185952" providerId="LiveId" clId="{F4D957F6-5F28-4DDF-9F2A-0CB3D547903A}" dt="2022-07-09T15:05:04.400" v="8232"/>
          <ac:picMkLst>
            <pc:docMk/>
            <pc:sldMk cId="2546441270" sldId="265"/>
            <ac:picMk id="9" creationId="{47CC0AA5-019F-7850-820E-5AEDCC3CAAD7}"/>
          </ac:picMkLst>
        </pc:picChg>
      </pc:sldChg>
      <pc:sldChg chg="addSp delSp modSp add mod">
        <pc:chgData name="Roberto Gallardo" userId="49a044883f185952" providerId="LiveId" clId="{F4D957F6-5F28-4DDF-9F2A-0CB3D547903A}" dt="2022-07-09T15:05:17.314" v="8233"/>
        <pc:sldMkLst>
          <pc:docMk/>
          <pc:sldMk cId="3919704792" sldId="266"/>
        </pc:sldMkLst>
        <pc:spChg chg="mod">
          <ac:chgData name="Roberto Gallardo" userId="49a044883f185952" providerId="LiveId" clId="{F4D957F6-5F28-4DDF-9F2A-0CB3D547903A}" dt="2022-07-06T22:23:17.167" v="1442" actId="27636"/>
          <ac:spMkLst>
            <pc:docMk/>
            <pc:sldMk cId="3919704792" sldId="266"/>
            <ac:spMk id="2" creationId="{C03B1400-5F72-D252-1DBE-EDCD6E63B07C}"/>
          </ac:spMkLst>
        </pc:spChg>
        <pc:picChg chg="add mod">
          <ac:chgData name="Roberto Gallardo" userId="49a044883f185952" providerId="LiveId" clId="{F4D957F6-5F28-4DDF-9F2A-0CB3D547903A}" dt="2022-07-06T22:24:12.291" v="1508" actId="1037"/>
          <ac:picMkLst>
            <pc:docMk/>
            <pc:sldMk cId="3919704792" sldId="266"/>
            <ac:picMk id="5" creationId="{088843C9-77E3-805A-9179-C1A1C9A9F778}"/>
          </ac:picMkLst>
        </pc:picChg>
        <pc:picChg chg="del">
          <ac:chgData name="Roberto Gallardo" userId="49a044883f185952" providerId="LiveId" clId="{F4D957F6-5F28-4DDF-9F2A-0CB3D547903A}" dt="2022-07-06T22:23:19.507" v="1443" actId="478"/>
          <ac:picMkLst>
            <pc:docMk/>
            <pc:sldMk cId="3919704792" sldId="266"/>
            <ac:picMk id="6" creationId="{B3E748F8-FB72-5130-50B9-55FFFF992B0F}"/>
          </ac:picMkLst>
        </pc:picChg>
        <pc:picChg chg="add del mod">
          <ac:chgData name="Roberto Gallardo" userId="49a044883f185952" providerId="LiveId" clId="{F4D957F6-5F28-4DDF-9F2A-0CB3D547903A}" dt="2022-07-09T15:02:42.281" v="8215" actId="478"/>
          <ac:picMkLst>
            <pc:docMk/>
            <pc:sldMk cId="3919704792" sldId="266"/>
            <ac:picMk id="7" creationId="{6CDE2789-26E2-7824-452C-DFD126337BBE}"/>
          </ac:picMkLst>
        </pc:picChg>
        <pc:picChg chg="add mod">
          <ac:chgData name="Roberto Gallardo" userId="49a044883f185952" providerId="LiveId" clId="{F4D957F6-5F28-4DDF-9F2A-0CB3D547903A}" dt="2022-07-09T15:05:17.314" v="8233"/>
          <ac:picMkLst>
            <pc:docMk/>
            <pc:sldMk cId="3919704792" sldId="266"/>
            <ac:picMk id="9" creationId="{9D726E44-68DE-8DC8-AE6E-567EAB42D17E}"/>
          </ac:picMkLst>
        </pc:picChg>
      </pc:sldChg>
      <pc:sldChg chg="add del ord">
        <pc:chgData name="Roberto Gallardo" userId="49a044883f185952" providerId="LiveId" clId="{F4D957F6-5F28-4DDF-9F2A-0CB3D547903A}" dt="2022-07-06T22:27:48.120" v="1519" actId="47"/>
        <pc:sldMkLst>
          <pc:docMk/>
          <pc:sldMk cId="467201158" sldId="267"/>
        </pc:sldMkLst>
      </pc:sldChg>
      <pc:sldChg chg="addSp delSp modSp add mod">
        <pc:chgData name="Roberto Gallardo" userId="49a044883f185952" providerId="LiveId" clId="{F4D957F6-5F28-4DDF-9F2A-0CB3D547903A}" dt="2022-07-09T15:05:31.574" v="8234"/>
        <pc:sldMkLst>
          <pc:docMk/>
          <pc:sldMk cId="4158874625" sldId="267"/>
        </pc:sldMkLst>
        <pc:spChg chg="mod">
          <ac:chgData name="Roberto Gallardo" userId="49a044883f185952" providerId="LiveId" clId="{F4D957F6-5F28-4DDF-9F2A-0CB3D547903A}" dt="2022-07-09T11:33:09.834" v="2182" actId="27636"/>
          <ac:spMkLst>
            <pc:docMk/>
            <pc:sldMk cId="4158874625" sldId="267"/>
            <ac:spMk id="2" creationId="{C03B1400-5F72-D252-1DBE-EDCD6E63B07C}"/>
          </ac:spMkLst>
        </pc:spChg>
        <pc:picChg chg="del">
          <ac:chgData name="Roberto Gallardo" userId="49a044883f185952" providerId="LiveId" clId="{F4D957F6-5F28-4DDF-9F2A-0CB3D547903A}" dt="2022-07-06T22:29:38.567" v="1554" actId="478"/>
          <ac:picMkLst>
            <pc:docMk/>
            <pc:sldMk cId="4158874625" sldId="267"/>
            <ac:picMk id="5" creationId="{088843C9-77E3-805A-9179-C1A1C9A9F778}"/>
          </ac:picMkLst>
        </pc:picChg>
        <pc:picChg chg="add del mod">
          <ac:chgData name="Roberto Gallardo" userId="49a044883f185952" providerId="LiveId" clId="{F4D957F6-5F28-4DDF-9F2A-0CB3D547903A}" dt="2022-07-06T22:30:25.055" v="1558" actId="478"/>
          <ac:picMkLst>
            <pc:docMk/>
            <pc:sldMk cId="4158874625" sldId="267"/>
            <ac:picMk id="6" creationId="{40ADAB00-C766-49C1-DC48-033C64C08FFD}"/>
          </ac:picMkLst>
        </pc:picChg>
        <pc:picChg chg="add del mod ord">
          <ac:chgData name="Roberto Gallardo" userId="49a044883f185952" providerId="LiveId" clId="{F4D957F6-5F28-4DDF-9F2A-0CB3D547903A}" dt="2022-07-09T11:32:52.656" v="2137" actId="478"/>
          <ac:picMkLst>
            <pc:docMk/>
            <pc:sldMk cId="4158874625" sldId="267"/>
            <ac:picMk id="7" creationId="{D2B795A0-9033-66D2-2D82-971B35A8C5F1}"/>
          </ac:picMkLst>
        </pc:picChg>
        <pc:picChg chg="add mod">
          <ac:chgData name="Roberto Gallardo" userId="49a044883f185952" providerId="LiveId" clId="{F4D957F6-5F28-4DDF-9F2A-0CB3D547903A}" dt="2022-07-06T22:33:03.484" v="1607" actId="1037"/>
          <ac:picMkLst>
            <pc:docMk/>
            <pc:sldMk cId="4158874625" sldId="267"/>
            <ac:picMk id="9" creationId="{A23C3077-18F4-D986-FD73-9EEB38CBB4EF}"/>
          </ac:picMkLst>
        </pc:picChg>
        <pc:picChg chg="add del mod">
          <ac:chgData name="Roberto Gallardo" userId="49a044883f185952" providerId="LiveId" clId="{F4D957F6-5F28-4DDF-9F2A-0CB3D547903A}" dt="2022-07-09T15:02:45.048" v="8216" actId="478"/>
          <ac:picMkLst>
            <pc:docMk/>
            <pc:sldMk cId="4158874625" sldId="267"/>
            <ac:picMk id="10" creationId="{B756D1CE-7117-61AF-3328-8DE390EED365}"/>
          </ac:picMkLst>
        </pc:picChg>
        <pc:picChg chg="add mod">
          <ac:chgData name="Roberto Gallardo" userId="49a044883f185952" providerId="LiveId" clId="{F4D957F6-5F28-4DDF-9F2A-0CB3D547903A}" dt="2022-07-09T15:05:31.574" v="8234"/>
          <ac:picMkLst>
            <pc:docMk/>
            <pc:sldMk cId="4158874625" sldId="267"/>
            <ac:picMk id="11" creationId="{03B00FBA-506B-D928-E948-13F88F6B8557}"/>
          </ac:picMkLst>
        </pc:picChg>
      </pc:sldChg>
      <pc:sldChg chg="addSp delSp modSp add mod">
        <pc:chgData name="Roberto Gallardo" userId="49a044883f185952" providerId="LiveId" clId="{F4D957F6-5F28-4DDF-9F2A-0CB3D547903A}" dt="2022-07-10T15:59:21.537" v="8244"/>
        <pc:sldMkLst>
          <pc:docMk/>
          <pc:sldMk cId="2670791091" sldId="268"/>
        </pc:sldMkLst>
        <pc:spChg chg="mod">
          <ac:chgData name="Roberto Gallardo" userId="49a044883f185952" providerId="LiveId" clId="{F4D957F6-5F28-4DDF-9F2A-0CB3D547903A}" dt="2022-07-09T11:33:25.558" v="2199" actId="27636"/>
          <ac:spMkLst>
            <pc:docMk/>
            <pc:sldMk cId="2670791091" sldId="268"/>
            <ac:spMk id="2" creationId="{C03B1400-5F72-D252-1DBE-EDCD6E63B07C}"/>
          </ac:spMkLst>
        </pc:spChg>
        <pc:picChg chg="add mod">
          <ac:chgData name="Roberto Gallardo" userId="49a044883f185952" providerId="LiveId" clId="{F4D957F6-5F28-4DDF-9F2A-0CB3D547903A}" dt="2022-07-06T22:37:05.395" v="1695" actId="1038"/>
          <ac:picMkLst>
            <pc:docMk/>
            <pc:sldMk cId="2670791091" sldId="268"/>
            <ac:picMk id="5" creationId="{BC0DDB0A-24DE-355E-1DCE-546916112ABB}"/>
          </ac:picMkLst>
        </pc:picChg>
        <pc:picChg chg="add del mod">
          <ac:chgData name="Roberto Gallardo" userId="49a044883f185952" providerId="LiveId" clId="{F4D957F6-5F28-4DDF-9F2A-0CB3D547903A}" dt="2022-07-09T11:33:17.296" v="2184" actId="478"/>
          <ac:picMkLst>
            <pc:docMk/>
            <pc:sldMk cId="2670791091" sldId="268"/>
            <ac:picMk id="7" creationId="{1EEB24BD-AB72-C87D-897E-5EF2BB4DF3DF}"/>
          </ac:picMkLst>
        </pc:picChg>
        <pc:picChg chg="add del mod">
          <ac:chgData name="Roberto Gallardo" userId="49a044883f185952" providerId="LiveId" clId="{F4D957F6-5F28-4DDF-9F2A-0CB3D547903A}" dt="2022-07-09T15:02:47.496" v="8217" actId="478"/>
          <ac:picMkLst>
            <pc:docMk/>
            <pc:sldMk cId="2670791091" sldId="268"/>
            <ac:picMk id="9" creationId="{07233C83-1BED-5EDF-6C95-96FAB7C256F2}"/>
          </ac:picMkLst>
        </pc:picChg>
        <pc:picChg chg="add mod">
          <ac:chgData name="Roberto Gallardo" userId="49a044883f185952" providerId="LiveId" clId="{F4D957F6-5F28-4DDF-9F2A-0CB3D547903A}" dt="2022-07-10T15:59:21.537" v="8244"/>
          <ac:picMkLst>
            <pc:docMk/>
            <pc:sldMk cId="2670791091" sldId="268"/>
            <ac:picMk id="9" creationId="{61D5CA95-0D5A-0D63-EA87-4CADE4B8D2BE}"/>
          </ac:picMkLst>
        </pc:picChg>
        <pc:picChg chg="del">
          <ac:chgData name="Roberto Gallardo" userId="49a044883f185952" providerId="LiveId" clId="{F4D957F6-5F28-4DDF-9F2A-0CB3D547903A}" dt="2022-07-06T22:36:26.200" v="1641" actId="478"/>
          <ac:picMkLst>
            <pc:docMk/>
            <pc:sldMk cId="2670791091" sldId="268"/>
            <ac:picMk id="9" creationId="{A23C3077-18F4-D986-FD73-9EEB38CBB4EF}"/>
          </ac:picMkLst>
        </pc:picChg>
        <pc:picChg chg="add del mod">
          <ac:chgData name="Roberto Gallardo" userId="49a044883f185952" providerId="LiveId" clId="{F4D957F6-5F28-4DDF-9F2A-0CB3D547903A}" dt="2022-07-10T15:58:44.549" v="8238" actId="478"/>
          <ac:picMkLst>
            <pc:docMk/>
            <pc:sldMk cId="2670791091" sldId="268"/>
            <ac:picMk id="10" creationId="{8DBFB1ED-9EF2-B936-F2C1-0923DE5ADE42}"/>
          </ac:picMkLst>
        </pc:picChg>
      </pc:sldChg>
      <pc:sldChg chg="addSp delSp modSp add mod">
        <pc:chgData name="Roberto Gallardo" userId="49a044883f185952" providerId="LiveId" clId="{F4D957F6-5F28-4DDF-9F2A-0CB3D547903A}" dt="2022-07-09T15:05:58.766" v="8236"/>
        <pc:sldMkLst>
          <pc:docMk/>
          <pc:sldMk cId="3618545072" sldId="269"/>
        </pc:sldMkLst>
        <pc:spChg chg="mod">
          <ac:chgData name="Roberto Gallardo" userId="49a044883f185952" providerId="LiveId" clId="{F4D957F6-5F28-4DDF-9F2A-0CB3D547903A}" dt="2022-07-06T22:39:52.111" v="1712" actId="20577"/>
          <ac:spMkLst>
            <pc:docMk/>
            <pc:sldMk cId="3618545072" sldId="269"/>
            <ac:spMk id="2" creationId="{C03B1400-5F72-D252-1DBE-EDCD6E63B07C}"/>
          </ac:spMkLst>
        </pc:spChg>
        <pc:spChg chg="add mod">
          <ac:chgData name="Roberto Gallardo" userId="49a044883f185952" providerId="LiveId" clId="{F4D957F6-5F28-4DDF-9F2A-0CB3D547903A}" dt="2022-07-06T22:43:50.723" v="1817" actId="255"/>
          <ac:spMkLst>
            <pc:docMk/>
            <pc:sldMk cId="3618545072" sldId="269"/>
            <ac:spMk id="7" creationId="{90F8BE7A-1D3B-3284-C5D0-89541B85FCF6}"/>
          </ac:spMkLst>
        </pc:spChg>
        <pc:picChg chg="del">
          <ac:chgData name="Roberto Gallardo" userId="49a044883f185952" providerId="LiveId" clId="{F4D957F6-5F28-4DDF-9F2A-0CB3D547903A}" dt="2022-07-06T22:41:01.307" v="1713" actId="478"/>
          <ac:picMkLst>
            <pc:docMk/>
            <pc:sldMk cId="3618545072" sldId="269"/>
            <ac:picMk id="5" creationId="{BC0DDB0A-24DE-355E-1DCE-546916112ABB}"/>
          </ac:picMkLst>
        </pc:picChg>
        <pc:picChg chg="add del mod">
          <ac:chgData name="Roberto Gallardo" userId="49a044883f185952" providerId="LiveId" clId="{F4D957F6-5F28-4DDF-9F2A-0CB3D547903A}" dt="2022-07-06T22:50:14.166" v="1849" actId="478"/>
          <ac:picMkLst>
            <pc:docMk/>
            <pc:sldMk cId="3618545072" sldId="269"/>
            <ac:picMk id="6" creationId="{19E1FB01-01BD-01CB-9397-3DF9619103BD}"/>
          </ac:picMkLst>
        </pc:picChg>
        <pc:picChg chg="add del mod">
          <ac:chgData name="Roberto Gallardo" userId="49a044883f185952" providerId="LiveId" clId="{F4D957F6-5F28-4DDF-9F2A-0CB3D547903A}" dt="2022-07-09T15:02:49.384" v="8218" actId="478"/>
          <ac:picMkLst>
            <pc:docMk/>
            <pc:sldMk cId="3618545072" sldId="269"/>
            <ac:picMk id="9" creationId="{3DCFCCBB-98F1-2623-0E8C-24A8DE45859F}"/>
          </ac:picMkLst>
        </pc:picChg>
        <pc:picChg chg="add mod">
          <ac:chgData name="Roberto Gallardo" userId="49a044883f185952" providerId="LiveId" clId="{F4D957F6-5F28-4DDF-9F2A-0CB3D547903A}" dt="2022-07-06T23:33:14.008" v="1964" actId="1036"/>
          <ac:picMkLst>
            <pc:docMk/>
            <pc:sldMk cId="3618545072" sldId="269"/>
            <ac:picMk id="10" creationId="{B0321917-D748-5181-7D6B-5048E85DA5E6}"/>
          </ac:picMkLst>
        </pc:picChg>
        <pc:picChg chg="add mod">
          <ac:chgData name="Roberto Gallardo" userId="49a044883f185952" providerId="LiveId" clId="{F4D957F6-5F28-4DDF-9F2A-0CB3D547903A}" dt="2022-07-09T15:05:58.766" v="8236"/>
          <ac:picMkLst>
            <pc:docMk/>
            <pc:sldMk cId="3618545072" sldId="269"/>
            <ac:picMk id="11" creationId="{A04580FC-CD08-15E2-4583-B2AA9F29633E}"/>
          </ac:picMkLst>
        </pc:picChg>
      </pc:sldChg>
      <pc:sldChg chg="addSp delSp modSp add mod">
        <pc:chgData name="Roberto Gallardo" userId="49a044883f185952" providerId="LiveId" clId="{F4D957F6-5F28-4DDF-9F2A-0CB3D547903A}" dt="2022-07-09T15:06:09.087" v="8237"/>
        <pc:sldMkLst>
          <pc:docMk/>
          <pc:sldMk cId="436430764" sldId="270"/>
        </pc:sldMkLst>
        <pc:spChg chg="mod">
          <ac:chgData name="Roberto Gallardo" userId="49a044883f185952" providerId="LiveId" clId="{F4D957F6-5F28-4DDF-9F2A-0CB3D547903A}" dt="2022-07-06T22:44:04.827" v="1830" actId="20577"/>
          <ac:spMkLst>
            <pc:docMk/>
            <pc:sldMk cId="436430764" sldId="270"/>
            <ac:spMk id="2" creationId="{C03B1400-5F72-D252-1DBE-EDCD6E63B07C}"/>
          </ac:spMkLst>
        </pc:spChg>
        <pc:spChg chg="mod">
          <ac:chgData name="Roberto Gallardo" userId="49a044883f185952" providerId="LiveId" clId="{F4D957F6-5F28-4DDF-9F2A-0CB3D547903A}" dt="2022-07-06T22:44:15.492" v="1842" actId="20577"/>
          <ac:spMkLst>
            <pc:docMk/>
            <pc:sldMk cId="436430764" sldId="270"/>
            <ac:spMk id="7" creationId="{90F8BE7A-1D3B-3284-C5D0-89541B85FCF6}"/>
          </ac:spMkLst>
        </pc:spChg>
        <pc:picChg chg="add del mod">
          <ac:chgData name="Roberto Gallardo" userId="49a044883f185952" providerId="LiveId" clId="{F4D957F6-5F28-4DDF-9F2A-0CB3D547903A}" dt="2022-07-06T23:55:55.335" v="2024" actId="478"/>
          <ac:picMkLst>
            <pc:docMk/>
            <pc:sldMk cId="436430764" sldId="270"/>
            <ac:picMk id="5" creationId="{C2091799-55B1-72F5-6048-6801B5F101E5}"/>
          </ac:picMkLst>
        </pc:picChg>
        <pc:picChg chg="del">
          <ac:chgData name="Roberto Gallardo" userId="49a044883f185952" providerId="LiveId" clId="{F4D957F6-5F28-4DDF-9F2A-0CB3D547903A}" dt="2022-07-06T22:44:22.634" v="1843" actId="478"/>
          <ac:picMkLst>
            <pc:docMk/>
            <pc:sldMk cId="436430764" sldId="270"/>
            <ac:picMk id="6" creationId="{19E1FB01-01BD-01CB-9397-3DF9619103BD}"/>
          </ac:picMkLst>
        </pc:picChg>
        <pc:picChg chg="add del mod">
          <ac:chgData name="Roberto Gallardo" userId="49a044883f185952" providerId="LiveId" clId="{F4D957F6-5F28-4DDF-9F2A-0CB3D547903A}" dt="2022-07-09T15:02:52.152" v="8219" actId="478"/>
          <ac:picMkLst>
            <pc:docMk/>
            <pc:sldMk cId="436430764" sldId="270"/>
            <ac:picMk id="9" creationId="{E5EEAF85-C66B-9406-0260-8AC818F73591}"/>
          </ac:picMkLst>
        </pc:picChg>
        <pc:picChg chg="add mod">
          <ac:chgData name="Roberto Gallardo" userId="49a044883f185952" providerId="LiveId" clId="{F4D957F6-5F28-4DDF-9F2A-0CB3D547903A}" dt="2022-07-07T00:19:27.359" v="2093" actId="1037"/>
          <ac:picMkLst>
            <pc:docMk/>
            <pc:sldMk cId="436430764" sldId="270"/>
            <ac:picMk id="10" creationId="{9B537C89-2489-C6B2-0DC8-074120B38C6B}"/>
          </ac:picMkLst>
        </pc:picChg>
        <pc:picChg chg="add mod">
          <ac:chgData name="Roberto Gallardo" userId="49a044883f185952" providerId="LiveId" clId="{F4D957F6-5F28-4DDF-9F2A-0CB3D547903A}" dt="2022-07-09T15:06:09.087" v="8237"/>
          <ac:picMkLst>
            <pc:docMk/>
            <pc:sldMk cId="436430764" sldId="270"/>
            <ac:picMk id="11" creationId="{20C03915-DA9C-757A-A650-980DD2CA00CD}"/>
          </ac:picMkLst>
        </pc:picChg>
      </pc:sldChg>
      <pc:sldChg chg="addSp delSp modSp add mod ord">
        <pc:chgData name="Roberto Gallardo" userId="49a044883f185952" providerId="LiveId" clId="{F4D957F6-5F28-4DDF-9F2A-0CB3D547903A}" dt="2022-07-09T14:59:15.472" v="8198"/>
        <pc:sldMkLst>
          <pc:docMk/>
          <pc:sldMk cId="1418533539" sldId="271"/>
        </pc:sldMkLst>
        <pc:spChg chg="mod">
          <ac:chgData name="Roberto Gallardo" userId="49a044883f185952" providerId="LiveId" clId="{F4D957F6-5F28-4DDF-9F2A-0CB3D547903A}" dt="2022-07-06T23:27:54.905" v="1859" actId="6549"/>
          <ac:spMkLst>
            <pc:docMk/>
            <pc:sldMk cId="1418533539" sldId="271"/>
            <ac:spMk id="2" creationId="{C03B1400-5F72-D252-1DBE-EDCD6E63B07C}"/>
          </ac:spMkLst>
        </pc:spChg>
        <pc:graphicFrameChg chg="mod">
          <ac:chgData name="Roberto Gallardo" userId="49a044883f185952" providerId="LiveId" clId="{F4D957F6-5F28-4DDF-9F2A-0CB3D547903A}" dt="2022-07-06T23:29:50.541" v="1913"/>
          <ac:graphicFrameMkLst>
            <pc:docMk/>
            <pc:sldMk cId="1418533539" sldId="271"/>
            <ac:graphicFrameMk id="12" creationId="{DABF0741-AD27-F6EC-F006-1930AC38E762}"/>
          </ac:graphicFrameMkLst>
        </pc:graphicFrameChg>
        <pc:picChg chg="add del mod">
          <ac:chgData name="Roberto Gallardo" userId="49a044883f185952" providerId="LiveId" clId="{F4D957F6-5F28-4DDF-9F2A-0CB3D547903A}" dt="2022-07-09T14:54:49.281" v="8169" actId="478"/>
          <ac:picMkLst>
            <pc:docMk/>
            <pc:sldMk cId="1418533539" sldId="271"/>
            <ac:picMk id="5" creationId="{58F25383-2ECB-5747-C30C-7CF7813F6475}"/>
          </ac:picMkLst>
        </pc:picChg>
        <pc:picChg chg="add del mod">
          <ac:chgData name="Roberto Gallardo" userId="49a044883f185952" providerId="LiveId" clId="{F4D957F6-5F28-4DDF-9F2A-0CB3D547903A}" dt="2022-07-09T14:57:24.144" v="8184" actId="478"/>
          <ac:picMkLst>
            <pc:docMk/>
            <pc:sldMk cId="1418533539" sldId="271"/>
            <ac:picMk id="6" creationId="{33D61055-25CC-642A-DB2B-056946C49651}"/>
          </ac:picMkLst>
        </pc:picChg>
        <pc:picChg chg="add del mod">
          <ac:chgData name="Roberto Gallardo" userId="49a044883f185952" providerId="LiveId" clId="{F4D957F6-5F28-4DDF-9F2A-0CB3D547903A}" dt="2022-07-09T14:54:46.865" v="8168" actId="478"/>
          <ac:picMkLst>
            <pc:docMk/>
            <pc:sldMk cId="1418533539" sldId="271"/>
            <ac:picMk id="7" creationId="{C1FBE600-A15B-D21D-560D-095518C56D8F}"/>
          </ac:picMkLst>
        </pc:picChg>
        <pc:picChg chg="add del mod">
          <ac:chgData name="Roberto Gallardo" userId="49a044883f185952" providerId="LiveId" clId="{F4D957F6-5F28-4DDF-9F2A-0CB3D547903A}" dt="2022-07-09T14:57:19.553" v="8183" actId="478"/>
          <ac:picMkLst>
            <pc:docMk/>
            <pc:sldMk cId="1418533539" sldId="271"/>
            <ac:picMk id="10" creationId="{15B1EE70-CA0B-E118-85DC-86F017381911}"/>
          </ac:picMkLst>
        </pc:picChg>
        <pc:picChg chg="add mod">
          <ac:chgData name="Roberto Gallardo" userId="49a044883f185952" providerId="LiveId" clId="{F4D957F6-5F28-4DDF-9F2A-0CB3D547903A}" dt="2022-07-09T14:59:06.232" v="8197" actId="1037"/>
          <ac:picMkLst>
            <pc:docMk/>
            <pc:sldMk cId="1418533539" sldId="271"/>
            <ac:picMk id="11" creationId="{AEFDEB6D-F3A3-1572-E046-90ABC9E2817B}"/>
          </ac:picMkLst>
        </pc:picChg>
        <pc:picChg chg="add mod">
          <ac:chgData name="Roberto Gallardo" userId="49a044883f185952" providerId="LiveId" clId="{F4D957F6-5F28-4DDF-9F2A-0CB3D547903A}" dt="2022-07-09T14:59:15.472" v="8198"/>
          <ac:picMkLst>
            <pc:docMk/>
            <pc:sldMk cId="1418533539" sldId="271"/>
            <ac:picMk id="13" creationId="{4F7357C3-AA47-A578-E18E-C38D0920BC2B}"/>
          </ac:picMkLst>
        </pc:picChg>
        <pc:picChg chg="del">
          <ac:chgData name="Roberto Gallardo" userId="49a044883f185952" providerId="LiveId" clId="{F4D957F6-5F28-4DDF-9F2A-0CB3D547903A}" dt="2022-07-06T23:27:58.648" v="1860" actId="478"/>
          <ac:picMkLst>
            <pc:docMk/>
            <pc:sldMk cId="1418533539" sldId="271"/>
            <ac:picMk id="16" creationId="{532B7758-F2FB-D91F-D115-90D2274360A1}"/>
          </ac:picMkLst>
        </pc:picChg>
      </pc:sldChg>
      <pc:sldChg chg="addSp delSp modSp add mod ord">
        <pc:chgData name="Roberto Gallardo" userId="49a044883f185952" providerId="LiveId" clId="{F4D957F6-5F28-4DDF-9F2A-0CB3D547903A}" dt="2022-07-09T14:14:07.031" v="8167"/>
        <pc:sldMkLst>
          <pc:docMk/>
          <pc:sldMk cId="2653937722" sldId="272"/>
        </pc:sldMkLst>
        <pc:spChg chg="mod">
          <ac:chgData name="Roberto Gallardo" userId="49a044883f185952" providerId="LiveId" clId="{F4D957F6-5F28-4DDF-9F2A-0CB3D547903A}" dt="2022-07-09T11:36:32.688" v="2270" actId="20577"/>
          <ac:spMkLst>
            <pc:docMk/>
            <pc:sldMk cId="2653937722" sldId="272"/>
            <ac:spMk id="2" creationId="{C03B1400-5F72-D252-1DBE-EDCD6E63B07C}"/>
          </ac:spMkLst>
        </pc:spChg>
        <pc:graphicFrameChg chg="mod">
          <ac:chgData name="Roberto Gallardo" userId="49a044883f185952" providerId="LiveId" clId="{F4D957F6-5F28-4DDF-9F2A-0CB3D547903A}" dt="2022-07-09T11:39:25.708" v="2293" actId="20577"/>
          <ac:graphicFrameMkLst>
            <pc:docMk/>
            <pc:sldMk cId="2653937722" sldId="272"/>
            <ac:graphicFrameMk id="10" creationId="{FD2FC231-ACEF-5FF2-C4CE-DFF89EB85588}"/>
          </ac:graphicFrameMkLst>
        </pc:graphicFrameChg>
        <pc:picChg chg="del">
          <ac:chgData name="Roberto Gallardo" userId="49a044883f185952" providerId="LiveId" clId="{F4D957F6-5F28-4DDF-9F2A-0CB3D547903A}" dt="2022-07-09T11:36:10.261" v="2203" actId="478"/>
          <ac:picMkLst>
            <pc:docMk/>
            <pc:sldMk cId="2653937722" sldId="272"/>
            <ac:picMk id="6" creationId="{F6A5490A-A5E9-61BB-9097-88457932C0C3}"/>
          </ac:picMkLst>
        </pc:picChg>
        <pc:picChg chg="add mod">
          <ac:chgData name="Roberto Gallardo" userId="49a044883f185952" providerId="LiveId" clId="{F4D957F6-5F28-4DDF-9F2A-0CB3D547903A}" dt="2022-07-09T11:39:43.513" v="2294"/>
          <ac:picMkLst>
            <pc:docMk/>
            <pc:sldMk cId="2653937722" sldId="272"/>
            <ac:picMk id="7" creationId="{47B0A1AD-C83F-A2F8-D8C7-ED6D53AA4B2F}"/>
          </ac:picMkLst>
        </pc:picChg>
      </pc:sldChg>
      <pc:sldChg chg="addSp delSp modSp add mod ord">
        <pc:chgData name="Roberto Gallardo" userId="49a044883f185952" providerId="LiveId" clId="{F4D957F6-5F28-4DDF-9F2A-0CB3D547903A}" dt="2022-07-09T11:51:05.243" v="2440"/>
        <pc:sldMkLst>
          <pc:docMk/>
          <pc:sldMk cId="2076698419" sldId="273"/>
        </pc:sldMkLst>
        <pc:spChg chg="mod">
          <ac:chgData name="Roberto Gallardo" userId="49a044883f185952" providerId="LiveId" clId="{F4D957F6-5F28-4DDF-9F2A-0CB3D547903A}" dt="2022-07-09T11:44:35.684" v="2312" actId="20577"/>
          <ac:spMkLst>
            <pc:docMk/>
            <pc:sldMk cId="2076698419" sldId="273"/>
            <ac:spMk id="2" creationId="{C03B1400-5F72-D252-1DBE-EDCD6E63B07C}"/>
          </ac:spMkLst>
        </pc:spChg>
        <pc:graphicFrameChg chg="mod">
          <ac:chgData name="Roberto Gallardo" userId="49a044883f185952" providerId="LiveId" clId="{F4D957F6-5F28-4DDF-9F2A-0CB3D547903A}" dt="2022-07-09T11:45:57.924" v="2335" actId="20577"/>
          <ac:graphicFrameMkLst>
            <pc:docMk/>
            <pc:sldMk cId="2076698419" sldId="273"/>
            <ac:graphicFrameMk id="10" creationId="{FD2FC231-ACEF-5FF2-C4CE-DFF89EB85588}"/>
          </ac:graphicFrameMkLst>
        </pc:graphicFrameChg>
        <pc:picChg chg="del">
          <ac:chgData name="Roberto Gallardo" userId="49a044883f185952" providerId="LiveId" clId="{F4D957F6-5F28-4DDF-9F2A-0CB3D547903A}" dt="2022-07-09T11:44:14.059" v="2298" actId="478"/>
          <ac:picMkLst>
            <pc:docMk/>
            <pc:sldMk cId="2076698419" sldId="273"/>
            <ac:picMk id="7" creationId="{47B0A1AD-C83F-A2F8-D8C7-ED6D53AA4B2F}"/>
          </ac:picMkLst>
        </pc:picChg>
        <pc:picChg chg="add mod">
          <ac:chgData name="Roberto Gallardo" userId="49a044883f185952" providerId="LiveId" clId="{F4D957F6-5F28-4DDF-9F2A-0CB3D547903A}" dt="2022-07-09T11:51:05.243" v="2440"/>
          <ac:picMkLst>
            <pc:docMk/>
            <pc:sldMk cId="2076698419" sldId="273"/>
            <ac:picMk id="9" creationId="{FFA57C8B-4C3E-6D4F-82A8-EE27683795FD}"/>
          </ac:picMkLst>
        </pc:picChg>
      </pc:sldChg>
      <pc:sldChg chg="addSp modSp add del mod">
        <pc:chgData name="Roberto Gallardo" userId="49a044883f185952" providerId="LiveId" clId="{F4D957F6-5F28-4DDF-9F2A-0CB3D547903A}" dt="2022-07-09T11:51:01.343" v="2439" actId="47"/>
        <pc:sldMkLst>
          <pc:docMk/>
          <pc:sldMk cId="3196042900" sldId="274"/>
        </pc:sldMkLst>
        <pc:spChg chg="mod">
          <ac:chgData name="Roberto Gallardo" userId="49a044883f185952" providerId="LiveId" clId="{F4D957F6-5F28-4DDF-9F2A-0CB3D547903A}" dt="2022-07-09T11:47:54.484" v="2374" actId="20577"/>
          <ac:spMkLst>
            <pc:docMk/>
            <pc:sldMk cId="3196042900" sldId="274"/>
            <ac:spMk id="2" creationId="{C03B1400-5F72-D252-1DBE-EDCD6E63B07C}"/>
          </ac:spMkLst>
        </pc:spChg>
        <pc:spChg chg="add mod">
          <ac:chgData name="Roberto Gallardo" userId="49a044883f185952" providerId="LiveId" clId="{F4D957F6-5F28-4DDF-9F2A-0CB3D547903A}" dt="2022-07-09T11:49:18.050" v="2424" actId="2711"/>
          <ac:spMkLst>
            <pc:docMk/>
            <pc:sldMk cId="3196042900" sldId="274"/>
            <ac:spMk id="6" creationId="{522A571D-CAF9-2AE6-B5F4-317988087B5C}"/>
          </ac:spMkLst>
        </pc:spChg>
        <pc:spChg chg="mod">
          <ac:chgData name="Roberto Gallardo" userId="49a044883f185952" providerId="LiveId" clId="{F4D957F6-5F28-4DDF-9F2A-0CB3D547903A}" dt="2022-07-09T11:49:06.804" v="2423" actId="14100"/>
          <ac:spMkLst>
            <pc:docMk/>
            <pc:sldMk cId="3196042900" sldId="274"/>
            <ac:spMk id="8" creationId="{40AF43CC-DD34-B66D-2100-C70E6AB3ED53}"/>
          </ac:spMkLst>
        </pc:spChg>
        <pc:graphicFrameChg chg="mod">
          <ac:chgData name="Roberto Gallardo" userId="49a044883f185952" providerId="LiveId" clId="{F4D957F6-5F28-4DDF-9F2A-0CB3D547903A}" dt="2022-07-09T11:46:26.929" v="2366" actId="20577"/>
          <ac:graphicFrameMkLst>
            <pc:docMk/>
            <pc:sldMk cId="3196042900" sldId="274"/>
            <ac:graphicFrameMk id="10" creationId="{FD2FC231-ACEF-5FF2-C4CE-DFF89EB85588}"/>
          </ac:graphicFrameMkLst>
        </pc:graphicFrameChg>
      </pc:sldChg>
      <pc:sldChg chg="addSp delSp modSp add mod">
        <pc:chgData name="Roberto Gallardo" userId="49a044883f185952" providerId="LiveId" clId="{F4D957F6-5F28-4DDF-9F2A-0CB3D547903A}" dt="2022-07-09T11:53:37.363" v="2578"/>
        <pc:sldMkLst>
          <pc:docMk/>
          <pc:sldMk cId="3802335161" sldId="274"/>
        </pc:sldMkLst>
        <pc:spChg chg="mod">
          <ac:chgData name="Roberto Gallardo" userId="49a044883f185952" providerId="LiveId" clId="{F4D957F6-5F28-4DDF-9F2A-0CB3D547903A}" dt="2022-07-09T11:51:21.584" v="2473" actId="20577"/>
          <ac:spMkLst>
            <pc:docMk/>
            <pc:sldMk cId="3802335161" sldId="274"/>
            <ac:spMk id="2" creationId="{C03B1400-5F72-D252-1DBE-EDCD6E63B07C}"/>
          </ac:spMkLst>
        </pc:spChg>
        <pc:spChg chg="add mod">
          <ac:chgData name="Roberto Gallardo" userId="49a044883f185952" providerId="LiveId" clId="{F4D957F6-5F28-4DDF-9F2A-0CB3D547903A}" dt="2022-07-09T11:52:17.918" v="2554" actId="1076"/>
          <ac:spMkLst>
            <pc:docMk/>
            <pc:sldMk cId="3802335161" sldId="274"/>
            <ac:spMk id="7" creationId="{06088BFF-E008-7036-06DC-C79AACE6A6EF}"/>
          </ac:spMkLst>
        </pc:spChg>
        <pc:spChg chg="mod">
          <ac:chgData name="Roberto Gallardo" userId="49a044883f185952" providerId="LiveId" clId="{F4D957F6-5F28-4DDF-9F2A-0CB3D547903A}" dt="2022-07-09T11:52:39.635" v="2570" actId="1076"/>
          <ac:spMkLst>
            <pc:docMk/>
            <pc:sldMk cId="3802335161" sldId="274"/>
            <ac:spMk id="8" creationId="{40AF43CC-DD34-B66D-2100-C70E6AB3ED53}"/>
          </ac:spMkLst>
        </pc:spChg>
        <pc:graphicFrameChg chg="mod">
          <ac:chgData name="Roberto Gallardo" userId="49a044883f185952" providerId="LiveId" clId="{F4D957F6-5F28-4DDF-9F2A-0CB3D547903A}" dt="2022-07-09T11:51:27.441" v="2477" actId="20577"/>
          <ac:graphicFrameMkLst>
            <pc:docMk/>
            <pc:sldMk cId="3802335161" sldId="274"/>
            <ac:graphicFrameMk id="10" creationId="{FD2FC231-ACEF-5FF2-C4CE-DFF89EB85588}"/>
          </ac:graphicFrameMkLst>
        </pc:graphicFrameChg>
        <pc:picChg chg="del">
          <ac:chgData name="Roberto Gallardo" userId="49a044883f185952" providerId="LiveId" clId="{F4D957F6-5F28-4DDF-9F2A-0CB3D547903A}" dt="2022-07-09T11:51:12.990" v="2442" actId="478"/>
          <ac:picMkLst>
            <pc:docMk/>
            <pc:sldMk cId="3802335161" sldId="274"/>
            <ac:picMk id="9" creationId="{FFA57C8B-4C3E-6D4F-82A8-EE27683795FD}"/>
          </ac:picMkLst>
        </pc:picChg>
        <pc:picChg chg="add mod">
          <ac:chgData name="Roberto Gallardo" userId="49a044883f185952" providerId="LiveId" clId="{F4D957F6-5F28-4DDF-9F2A-0CB3D547903A}" dt="2022-07-09T11:53:37.363" v="2578"/>
          <ac:picMkLst>
            <pc:docMk/>
            <pc:sldMk cId="3802335161" sldId="274"/>
            <ac:picMk id="11" creationId="{20764531-2D44-8514-A242-BA2A93780D69}"/>
          </ac:picMkLst>
        </pc:picChg>
      </pc:sldChg>
      <pc:sldChg chg="addSp delSp modSp add mod ord">
        <pc:chgData name="Roberto Gallardo" userId="49a044883f185952" providerId="LiveId" clId="{F4D957F6-5F28-4DDF-9F2A-0CB3D547903A}" dt="2022-07-09T12:37:45.707" v="7878"/>
        <pc:sldMkLst>
          <pc:docMk/>
          <pc:sldMk cId="4292554322" sldId="275"/>
        </pc:sldMkLst>
        <pc:spChg chg="mod">
          <ac:chgData name="Roberto Gallardo" userId="49a044883f185952" providerId="LiveId" clId="{F4D957F6-5F28-4DDF-9F2A-0CB3D547903A}" dt="2022-07-09T11:59:53.687" v="2752" actId="20577"/>
          <ac:spMkLst>
            <pc:docMk/>
            <pc:sldMk cId="4292554322" sldId="275"/>
            <ac:spMk id="2" creationId="{C03B1400-5F72-D252-1DBE-EDCD6E63B07C}"/>
          </ac:spMkLst>
        </pc:spChg>
        <pc:spChg chg="mod">
          <ac:chgData name="Roberto Gallardo" userId="49a044883f185952" providerId="LiveId" clId="{F4D957F6-5F28-4DDF-9F2A-0CB3D547903A}" dt="2022-07-09T11:56:56.440" v="2705" actId="20577"/>
          <ac:spMkLst>
            <pc:docMk/>
            <pc:sldMk cId="4292554322" sldId="275"/>
            <ac:spMk id="8" creationId="{40AF43CC-DD34-B66D-2100-C70E6AB3ED53}"/>
          </ac:spMkLst>
        </pc:spChg>
        <pc:graphicFrameChg chg="mod">
          <ac:chgData name="Roberto Gallardo" userId="49a044883f185952" providerId="LiveId" clId="{F4D957F6-5F28-4DDF-9F2A-0CB3D547903A}" dt="2022-07-09T11:59:40.308" v="2751" actId="207"/>
          <ac:graphicFrameMkLst>
            <pc:docMk/>
            <pc:sldMk cId="4292554322" sldId="275"/>
            <ac:graphicFrameMk id="10" creationId="{FD2FC231-ACEF-5FF2-C4CE-DFF89EB85588}"/>
          </ac:graphicFrameMkLst>
        </pc:graphicFrameChg>
        <pc:picChg chg="add mod">
          <ac:chgData name="Roberto Gallardo" userId="49a044883f185952" providerId="LiveId" clId="{F4D957F6-5F28-4DDF-9F2A-0CB3D547903A}" dt="2022-07-09T12:37:45.707" v="7878"/>
          <ac:picMkLst>
            <pc:docMk/>
            <pc:sldMk cId="4292554322" sldId="275"/>
            <ac:picMk id="7" creationId="{D63D57C2-CBCB-D955-3A69-AFA7B03E637F}"/>
          </ac:picMkLst>
        </pc:picChg>
        <pc:picChg chg="del">
          <ac:chgData name="Roberto Gallardo" userId="49a044883f185952" providerId="LiveId" clId="{F4D957F6-5F28-4DDF-9F2A-0CB3D547903A}" dt="2022-07-09T11:55:51.307" v="2616" actId="478"/>
          <ac:picMkLst>
            <pc:docMk/>
            <pc:sldMk cId="4292554322" sldId="275"/>
            <ac:picMk id="9" creationId="{FFA57C8B-4C3E-6D4F-82A8-EE27683795FD}"/>
          </ac:picMkLst>
        </pc:picChg>
      </pc:sldChg>
      <pc:sldChg chg="addSp delSp modSp add mod ord">
        <pc:chgData name="Roberto Gallardo" userId="49a044883f185952" providerId="LiveId" clId="{F4D957F6-5F28-4DDF-9F2A-0CB3D547903A}" dt="2022-07-09T12:32:45.847" v="7137"/>
        <pc:sldMkLst>
          <pc:docMk/>
          <pc:sldMk cId="513409896" sldId="276"/>
        </pc:sldMkLst>
        <pc:spChg chg="mod">
          <ac:chgData name="Roberto Gallardo" userId="49a044883f185952" providerId="LiveId" clId="{F4D957F6-5F28-4DDF-9F2A-0CB3D547903A}" dt="2022-07-09T12:06:25.346" v="3010" actId="20577"/>
          <ac:spMkLst>
            <pc:docMk/>
            <pc:sldMk cId="513409896" sldId="276"/>
            <ac:spMk id="2" creationId="{C03B1400-5F72-D252-1DBE-EDCD6E63B07C}"/>
          </ac:spMkLst>
        </pc:spChg>
        <pc:spChg chg="del">
          <ac:chgData name="Roberto Gallardo" userId="49a044883f185952" providerId="LiveId" clId="{F4D957F6-5F28-4DDF-9F2A-0CB3D547903A}" dt="2022-07-09T12:06:09.640" v="3006" actId="478"/>
          <ac:spMkLst>
            <pc:docMk/>
            <pc:sldMk cId="513409896" sldId="276"/>
            <ac:spMk id="7" creationId="{06088BFF-E008-7036-06DC-C79AACE6A6EF}"/>
          </ac:spMkLst>
        </pc:spChg>
        <pc:spChg chg="mod">
          <ac:chgData name="Roberto Gallardo" userId="49a044883f185952" providerId="LiveId" clId="{F4D957F6-5F28-4DDF-9F2A-0CB3D547903A}" dt="2022-07-09T12:07:13.926" v="3022" actId="1076"/>
          <ac:spMkLst>
            <pc:docMk/>
            <pc:sldMk cId="513409896" sldId="276"/>
            <ac:spMk id="8" creationId="{40AF43CC-DD34-B66D-2100-C70E6AB3ED53}"/>
          </ac:spMkLst>
        </pc:spChg>
        <pc:spChg chg="add mod">
          <ac:chgData name="Roberto Gallardo" userId="49a044883f185952" providerId="LiveId" clId="{F4D957F6-5F28-4DDF-9F2A-0CB3D547903A}" dt="2022-07-09T12:04:10.337" v="2913" actId="2711"/>
          <ac:spMkLst>
            <pc:docMk/>
            <pc:sldMk cId="513409896" sldId="276"/>
            <ac:spMk id="9" creationId="{EB4CC4F6-2F6B-8AF9-8151-CB2C0FF4BAC4}"/>
          </ac:spMkLst>
        </pc:spChg>
        <pc:spChg chg="add mod">
          <ac:chgData name="Roberto Gallardo" userId="49a044883f185952" providerId="LiveId" clId="{F4D957F6-5F28-4DDF-9F2A-0CB3D547903A}" dt="2022-07-09T12:04:38.578" v="2919" actId="20577"/>
          <ac:spMkLst>
            <pc:docMk/>
            <pc:sldMk cId="513409896" sldId="276"/>
            <ac:spMk id="16" creationId="{420A225E-A640-906C-A470-552759842A43}"/>
          </ac:spMkLst>
        </pc:spChg>
        <pc:spChg chg="add mod">
          <ac:chgData name="Roberto Gallardo" userId="49a044883f185952" providerId="LiveId" clId="{F4D957F6-5F28-4DDF-9F2A-0CB3D547903A}" dt="2022-07-09T12:05:55.314" v="3004" actId="1036"/>
          <ac:spMkLst>
            <pc:docMk/>
            <pc:sldMk cId="513409896" sldId="276"/>
            <ac:spMk id="21" creationId="{9A68ADBE-AECC-EE60-7E94-3675B33E08AE}"/>
          </ac:spMkLst>
        </pc:spChg>
        <pc:spChg chg="add mod">
          <ac:chgData name="Roberto Gallardo" userId="49a044883f185952" providerId="LiveId" clId="{F4D957F6-5F28-4DDF-9F2A-0CB3D547903A}" dt="2022-07-09T12:06:41.497" v="3011" actId="1076"/>
          <ac:spMkLst>
            <pc:docMk/>
            <pc:sldMk cId="513409896" sldId="276"/>
            <ac:spMk id="26" creationId="{CCDA5E37-63CE-CEAA-0EAC-3BD8E75B5BA0}"/>
          </ac:spMkLst>
        </pc:spChg>
        <pc:graphicFrameChg chg="mod">
          <ac:chgData name="Roberto Gallardo" userId="49a044883f185952" providerId="LiveId" clId="{F4D957F6-5F28-4DDF-9F2A-0CB3D547903A}" dt="2022-07-09T12:00:25.926" v="2807" actId="20577"/>
          <ac:graphicFrameMkLst>
            <pc:docMk/>
            <pc:sldMk cId="513409896" sldId="276"/>
            <ac:graphicFrameMk id="10" creationId="{FD2FC231-ACEF-5FF2-C4CE-DFF89EB85588}"/>
          </ac:graphicFrameMkLst>
        </pc:graphicFrameChg>
        <pc:picChg chg="del">
          <ac:chgData name="Roberto Gallardo" userId="49a044883f185952" providerId="LiveId" clId="{F4D957F6-5F28-4DDF-9F2A-0CB3D547903A}" dt="2022-07-09T12:00:11.234" v="2756" actId="478"/>
          <ac:picMkLst>
            <pc:docMk/>
            <pc:sldMk cId="513409896" sldId="276"/>
            <ac:picMk id="11" creationId="{20764531-2D44-8514-A242-BA2A93780D69}"/>
          </ac:picMkLst>
        </pc:picChg>
        <pc:picChg chg="add mod">
          <ac:chgData name="Roberto Gallardo" userId="49a044883f185952" providerId="LiveId" clId="{F4D957F6-5F28-4DDF-9F2A-0CB3D547903A}" dt="2022-07-09T12:32:45.847" v="7137"/>
          <ac:picMkLst>
            <pc:docMk/>
            <pc:sldMk cId="513409896" sldId="276"/>
            <ac:picMk id="28" creationId="{7ABD12D9-88D7-6FDA-AEAC-080C6614109E}"/>
          </ac:picMkLst>
        </pc:picChg>
        <pc:cxnChg chg="add mod">
          <ac:chgData name="Roberto Gallardo" userId="49a044883f185952" providerId="LiveId" clId="{F4D957F6-5F28-4DDF-9F2A-0CB3D547903A}" dt="2022-07-09T12:03:01.205" v="2819" actId="1076"/>
          <ac:cxnSpMkLst>
            <pc:docMk/>
            <pc:sldMk cId="513409896" sldId="276"/>
            <ac:cxnSpMk id="12" creationId="{CFFB1630-BD90-A400-670C-BA42A969CC53}"/>
          </ac:cxnSpMkLst>
        </pc:cxnChg>
        <pc:cxnChg chg="add mod">
          <ac:chgData name="Roberto Gallardo" userId="49a044883f185952" providerId="LiveId" clId="{F4D957F6-5F28-4DDF-9F2A-0CB3D547903A}" dt="2022-07-09T12:03:01.205" v="2819" actId="1076"/>
          <ac:cxnSpMkLst>
            <pc:docMk/>
            <pc:sldMk cId="513409896" sldId="276"/>
            <ac:cxnSpMk id="13" creationId="{1D0B6E64-E4A0-FEB0-ABC4-B26C8EF7542E}"/>
          </ac:cxnSpMkLst>
        </pc:cxnChg>
        <pc:cxnChg chg="add mod">
          <ac:chgData name="Roberto Gallardo" userId="49a044883f185952" providerId="LiveId" clId="{F4D957F6-5F28-4DDF-9F2A-0CB3D547903A}" dt="2022-07-09T12:03:01.205" v="2819" actId="1076"/>
          <ac:cxnSpMkLst>
            <pc:docMk/>
            <pc:sldMk cId="513409896" sldId="276"/>
            <ac:cxnSpMk id="14" creationId="{15AB37BA-8065-3082-3040-FB8974BC0126}"/>
          </ac:cxnSpMkLst>
        </pc:cxnChg>
        <pc:cxnChg chg="add mod">
          <ac:chgData name="Roberto Gallardo" userId="49a044883f185952" providerId="LiveId" clId="{F4D957F6-5F28-4DDF-9F2A-0CB3D547903A}" dt="2022-07-09T12:03:01.205" v="2819" actId="1076"/>
          <ac:cxnSpMkLst>
            <pc:docMk/>
            <pc:sldMk cId="513409896" sldId="276"/>
            <ac:cxnSpMk id="15" creationId="{BCCCC111-CA7C-CAB0-EAC5-333D5A26296D}"/>
          </ac:cxnSpMkLst>
        </pc:cxnChg>
        <pc:cxnChg chg="add mod">
          <ac:chgData name="Roberto Gallardo" userId="49a044883f185952" providerId="LiveId" clId="{F4D957F6-5F28-4DDF-9F2A-0CB3D547903A}" dt="2022-07-09T12:04:25.929" v="2915" actId="1076"/>
          <ac:cxnSpMkLst>
            <pc:docMk/>
            <pc:sldMk cId="513409896" sldId="276"/>
            <ac:cxnSpMk id="17" creationId="{26BD209E-6819-82CB-9B59-E03611EAC1FC}"/>
          </ac:cxnSpMkLst>
        </pc:cxnChg>
        <pc:cxnChg chg="add mod">
          <ac:chgData name="Roberto Gallardo" userId="49a044883f185952" providerId="LiveId" clId="{F4D957F6-5F28-4DDF-9F2A-0CB3D547903A}" dt="2022-07-09T12:04:25.929" v="2915" actId="1076"/>
          <ac:cxnSpMkLst>
            <pc:docMk/>
            <pc:sldMk cId="513409896" sldId="276"/>
            <ac:cxnSpMk id="18" creationId="{F8736966-F272-CC1E-CA8B-886785B2B5EB}"/>
          </ac:cxnSpMkLst>
        </pc:cxnChg>
        <pc:cxnChg chg="add mod">
          <ac:chgData name="Roberto Gallardo" userId="49a044883f185952" providerId="LiveId" clId="{F4D957F6-5F28-4DDF-9F2A-0CB3D547903A}" dt="2022-07-09T12:04:25.929" v="2915" actId="1076"/>
          <ac:cxnSpMkLst>
            <pc:docMk/>
            <pc:sldMk cId="513409896" sldId="276"/>
            <ac:cxnSpMk id="19" creationId="{310587E0-05D3-43D7-B764-184E1AB6C561}"/>
          </ac:cxnSpMkLst>
        </pc:cxnChg>
        <pc:cxnChg chg="add mod">
          <ac:chgData name="Roberto Gallardo" userId="49a044883f185952" providerId="LiveId" clId="{F4D957F6-5F28-4DDF-9F2A-0CB3D547903A}" dt="2022-07-09T12:04:25.929" v="2915" actId="1076"/>
          <ac:cxnSpMkLst>
            <pc:docMk/>
            <pc:sldMk cId="513409896" sldId="276"/>
            <ac:cxnSpMk id="20" creationId="{4FC1B3BE-8F7B-FCC3-C3CB-625A8A3E620F}"/>
          </ac:cxnSpMkLst>
        </pc:cxnChg>
        <pc:cxnChg chg="add mod">
          <ac:chgData name="Roberto Gallardo" userId="49a044883f185952" providerId="LiveId" clId="{F4D957F6-5F28-4DDF-9F2A-0CB3D547903A}" dt="2022-07-09T12:04:52.466" v="2923" actId="1035"/>
          <ac:cxnSpMkLst>
            <pc:docMk/>
            <pc:sldMk cId="513409896" sldId="276"/>
            <ac:cxnSpMk id="22" creationId="{1B423FA0-E4B3-6570-929B-A9283D503787}"/>
          </ac:cxnSpMkLst>
        </pc:cxnChg>
        <pc:cxnChg chg="add mod">
          <ac:chgData name="Roberto Gallardo" userId="49a044883f185952" providerId="LiveId" clId="{F4D957F6-5F28-4DDF-9F2A-0CB3D547903A}" dt="2022-07-09T12:05:11.201" v="2942" actId="1035"/>
          <ac:cxnSpMkLst>
            <pc:docMk/>
            <pc:sldMk cId="513409896" sldId="276"/>
            <ac:cxnSpMk id="23" creationId="{D616797E-0044-3804-BA5A-23B8EB309CA5}"/>
          </ac:cxnSpMkLst>
        </pc:cxnChg>
        <pc:cxnChg chg="add mod">
          <ac:chgData name="Roberto Gallardo" userId="49a044883f185952" providerId="LiveId" clId="{F4D957F6-5F28-4DDF-9F2A-0CB3D547903A}" dt="2022-07-09T12:05:40.828" v="3001" actId="14100"/>
          <ac:cxnSpMkLst>
            <pc:docMk/>
            <pc:sldMk cId="513409896" sldId="276"/>
            <ac:cxnSpMk id="24" creationId="{20A6256E-6780-BAE0-B803-D02FE024579F}"/>
          </ac:cxnSpMkLst>
        </pc:cxnChg>
        <pc:cxnChg chg="add mod">
          <ac:chgData name="Roberto Gallardo" userId="49a044883f185952" providerId="LiveId" clId="{F4D957F6-5F28-4DDF-9F2A-0CB3D547903A}" dt="2022-07-09T12:08:13.283" v="3023" actId="14100"/>
          <ac:cxnSpMkLst>
            <pc:docMk/>
            <pc:sldMk cId="513409896" sldId="276"/>
            <ac:cxnSpMk id="25" creationId="{62B7492E-2C75-E0CD-947E-C582F412F7D7}"/>
          </ac:cxnSpMkLst>
        </pc:cxnChg>
      </pc:sldChg>
      <pc:sldChg chg="addSp delSp modSp add mod ord">
        <pc:chgData name="Roberto Gallardo" userId="49a044883f185952" providerId="LiveId" clId="{F4D957F6-5F28-4DDF-9F2A-0CB3D547903A}" dt="2022-07-09T12:54:16.818" v="8096"/>
        <pc:sldMkLst>
          <pc:docMk/>
          <pc:sldMk cId="543148149" sldId="277"/>
        </pc:sldMkLst>
        <pc:spChg chg="mod">
          <ac:chgData name="Roberto Gallardo" userId="49a044883f185952" providerId="LiveId" clId="{F4D957F6-5F28-4DDF-9F2A-0CB3D547903A}" dt="2022-07-09T12:09:27.514" v="3061" actId="20577"/>
          <ac:spMkLst>
            <pc:docMk/>
            <pc:sldMk cId="543148149" sldId="277"/>
            <ac:spMk id="2" creationId="{C03B1400-5F72-D252-1DBE-EDCD6E63B07C}"/>
          </ac:spMkLst>
        </pc:spChg>
        <pc:spChg chg="add mod">
          <ac:chgData name="Roberto Gallardo" userId="49a044883f185952" providerId="LiveId" clId="{F4D957F6-5F28-4DDF-9F2A-0CB3D547903A}" dt="2022-07-09T12:54:12.079" v="8095" actId="20577"/>
          <ac:spMkLst>
            <pc:docMk/>
            <pc:sldMk cId="543148149" sldId="277"/>
            <ac:spMk id="5" creationId="{6AE302AC-8931-4144-BE52-DD1A8BA82462}"/>
          </ac:spMkLst>
        </pc:spChg>
        <pc:spChg chg="del">
          <ac:chgData name="Roberto Gallardo" userId="49a044883f185952" providerId="LiveId" clId="{F4D957F6-5F28-4DDF-9F2A-0CB3D547903A}" dt="2022-07-09T12:09:08.508" v="3031" actId="478"/>
          <ac:spMkLst>
            <pc:docMk/>
            <pc:sldMk cId="543148149" sldId="277"/>
            <ac:spMk id="8" creationId="{40AF43CC-DD34-B66D-2100-C70E6AB3ED53}"/>
          </ac:spMkLst>
        </pc:spChg>
        <pc:spChg chg="add mod">
          <ac:chgData name="Roberto Gallardo" userId="49a044883f185952" providerId="LiveId" clId="{F4D957F6-5F28-4DDF-9F2A-0CB3D547903A}" dt="2022-07-09T12:51:48.063" v="8046" actId="20577"/>
          <ac:spMkLst>
            <pc:docMk/>
            <pc:sldMk cId="543148149" sldId="277"/>
            <ac:spMk id="9" creationId="{E362A98F-7DCD-C67C-23CE-1BE182A133B4}"/>
          </ac:spMkLst>
        </pc:spChg>
        <pc:graphicFrameChg chg="del">
          <ac:chgData name="Roberto Gallardo" userId="49a044883f185952" providerId="LiveId" clId="{F4D957F6-5F28-4DDF-9F2A-0CB3D547903A}" dt="2022-07-09T12:09:06.575" v="3030" actId="478"/>
          <ac:graphicFrameMkLst>
            <pc:docMk/>
            <pc:sldMk cId="543148149" sldId="277"/>
            <ac:graphicFrameMk id="7" creationId="{9B61CC2F-17D9-E6A9-D1A8-11B47E6F047B}"/>
          </ac:graphicFrameMkLst>
        </pc:graphicFrameChg>
        <pc:picChg chg="del">
          <ac:chgData name="Roberto Gallardo" userId="49a044883f185952" providerId="LiveId" clId="{F4D957F6-5F28-4DDF-9F2A-0CB3D547903A}" dt="2022-07-09T12:09:03.997" v="3029" actId="478"/>
          <ac:picMkLst>
            <pc:docMk/>
            <pc:sldMk cId="543148149" sldId="277"/>
            <ac:picMk id="6" creationId="{7454CA65-C29D-E836-52C1-21A108BA680B}"/>
          </ac:picMkLst>
        </pc:picChg>
        <pc:picChg chg="add del mod">
          <ac:chgData name="Roberto Gallardo" userId="49a044883f185952" providerId="LiveId" clId="{F4D957F6-5F28-4DDF-9F2A-0CB3D547903A}" dt="2022-07-09T12:34:32.957" v="7446" actId="478"/>
          <ac:picMkLst>
            <pc:docMk/>
            <pc:sldMk cId="543148149" sldId="277"/>
            <ac:picMk id="10" creationId="{A5E287D6-F3CD-8BB0-EC0F-5940483921DC}"/>
          </ac:picMkLst>
        </pc:picChg>
        <pc:picChg chg="add del mod">
          <ac:chgData name="Roberto Gallardo" userId="49a044883f185952" providerId="LiveId" clId="{F4D957F6-5F28-4DDF-9F2A-0CB3D547903A}" dt="2022-07-09T12:37:27.928" v="7849" actId="478"/>
          <ac:picMkLst>
            <pc:docMk/>
            <pc:sldMk cId="543148149" sldId="277"/>
            <ac:picMk id="11" creationId="{E8ABEFBC-4C66-F937-39D7-2095662F0F18}"/>
          </ac:picMkLst>
        </pc:picChg>
        <pc:picChg chg="add del mod">
          <ac:chgData name="Roberto Gallardo" userId="49a044883f185952" providerId="LiveId" clId="{F4D957F6-5F28-4DDF-9F2A-0CB3D547903A}" dt="2022-07-09T12:39:48.675" v="7879" actId="478"/>
          <ac:picMkLst>
            <pc:docMk/>
            <pc:sldMk cId="543148149" sldId="277"/>
            <ac:picMk id="12" creationId="{0DB2CB50-4F32-19BB-5A2F-C8C1E8099D2E}"/>
          </ac:picMkLst>
        </pc:picChg>
        <pc:picChg chg="add del mod">
          <ac:chgData name="Roberto Gallardo" userId="49a044883f185952" providerId="LiveId" clId="{F4D957F6-5F28-4DDF-9F2A-0CB3D547903A}" dt="2022-07-09T12:52:20.591" v="8048" actId="478"/>
          <ac:picMkLst>
            <pc:docMk/>
            <pc:sldMk cId="543148149" sldId="277"/>
            <ac:picMk id="13" creationId="{CFE2EE2F-7A19-368F-E1A6-0DFA1BFEC516}"/>
          </ac:picMkLst>
        </pc:picChg>
        <pc:picChg chg="add del mod">
          <ac:chgData name="Roberto Gallardo" userId="49a044883f185952" providerId="LiveId" clId="{F4D957F6-5F28-4DDF-9F2A-0CB3D547903A}" dt="2022-07-09T12:53:46.507" v="8051" actId="478"/>
          <ac:picMkLst>
            <pc:docMk/>
            <pc:sldMk cId="543148149" sldId="277"/>
            <ac:picMk id="14" creationId="{240B76E8-1524-A684-469D-CA55C48CE23D}"/>
          </ac:picMkLst>
        </pc:picChg>
        <pc:picChg chg="add mod">
          <ac:chgData name="Roberto Gallardo" userId="49a044883f185952" providerId="LiveId" clId="{F4D957F6-5F28-4DDF-9F2A-0CB3D547903A}" dt="2022-07-09T12:54:16.818" v="8096"/>
          <ac:picMkLst>
            <pc:docMk/>
            <pc:sldMk cId="543148149" sldId="277"/>
            <ac:picMk id="15" creationId="{B191D37B-F1CD-5A9C-06B8-E0E4181E0306}"/>
          </ac:picMkLst>
        </pc:picChg>
      </pc:sldChg>
      <pc:sldChg chg="addSp delSp modSp add mod ord">
        <pc:chgData name="Roberto Gallardo" userId="49a044883f185952" providerId="LiveId" clId="{F4D957F6-5F28-4DDF-9F2A-0CB3D547903A}" dt="2022-07-09T13:56:11.511" v="8162"/>
        <pc:sldMkLst>
          <pc:docMk/>
          <pc:sldMk cId="349244952" sldId="278"/>
        </pc:sldMkLst>
        <pc:spChg chg="mod">
          <ac:chgData name="Roberto Gallardo" userId="49a044883f185952" providerId="LiveId" clId="{F4D957F6-5F28-4DDF-9F2A-0CB3D547903A}" dt="2022-07-09T13:21:50.119" v="8150" actId="20577"/>
          <ac:spMkLst>
            <pc:docMk/>
            <pc:sldMk cId="349244952" sldId="278"/>
            <ac:spMk id="2" creationId="{C03B1400-5F72-D252-1DBE-EDCD6E63B07C}"/>
          </ac:spMkLst>
        </pc:spChg>
        <pc:spChg chg="mod">
          <ac:chgData name="Roberto Gallardo" userId="49a044883f185952" providerId="LiveId" clId="{F4D957F6-5F28-4DDF-9F2A-0CB3D547903A}" dt="2022-07-09T13:55:33.596" v="8161" actId="6549"/>
          <ac:spMkLst>
            <pc:docMk/>
            <pc:sldMk cId="349244952" sldId="278"/>
            <ac:spMk id="8" creationId="{40AF43CC-DD34-B66D-2100-C70E6AB3ED53}"/>
          </ac:spMkLst>
        </pc:spChg>
        <pc:graphicFrameChg chg="mod">
          <ac:chgData name="Roberto Gallardo" userId="49a044883f185952" providerId="LiveId" clId="{F4D957F6-5F28-4DDF-9F2A-0CB3D547903A}" dt="2022-07-09T12:50:16.594" v="8030"/>
          <ac:graphicFrameMkLst>
            <pc:docMk/>
            <pc:sldMk cId="349244952" sldId="278"/>
            <ac:graphicFrameMk id="10" creationId="{FD2FC231-ACEF-5FF2-C4CE-DFF89EB85588}"/>
          </ac:graphicFrameMkLst>
        </pc:graphicFrameChg>
        <pc:picChg chg="add del mod">
          <ac:chgData name="Roberto Gallardo" userId="49a044883f185952" providerId="LiveId" clId="{F4D957F6-5F28-4DDF-9F2A-0CB3D547903A}" dt="2022-07-09T13:21:38.290" v="8097" actId="478"/>
          <ac:picMkLst>
            <pc:docMk/>
            <pc:sldMk cId="349244952" sldId="278"/>
            <ac:picMk id="7" creationId="{84A10A3A-1472-C43B-0AE3-BD4DBCDECAC4}"/>
          </ac:picMkLst>
        </pc:picChg>
        <pc:picChg chg="del">
          <ac:chgData name="Roberto Gallardo" userId="49a044883f185952" providerId="LiveId" clId="{F4D957F6-5F28-4DDF-9F2A-0CB3D547903A}" dt="2022-07-09T12:48:28.958" v="7918" actId="478"/>
          <ac:picMkLst>
            <pc:docMk/>
            <pc:sldMk cId="349244952" sldId="278"/>
            <ac:picMk id="9" creationId="{FFA57C8B-4C3E-6D4F-82A8-EE27683795FD}"/>
          </ac:picMkLst>
        </pc:picChg>
        <pc:picChg chg="add mod">
          <ac:chgData name="Roberto Gallardo" userId="49a044883f185952" providerId="LiveId" clId="{F4D957F6-5F28-4DDF-9F2A-0CB3D547903A}" dt="2022-07-09T13:56:11.511" v="8162"/>
          <ac:picMkLst>
            <pc:docMk/>
            <pc:sldMk cId="349244952" sldId="278"/>
            <ac:picMk id="11" creationId="{DB0A9B91-BDA9-CBFA-5C74-903665FB0440}"/>
          </ac:picMkLst>
        </pc:picChg>
      </pc:sldChg>
    </pc:docChg>
  </pc:docChgLst>
  <pc:docChgLst>
    <pc:chgData name="Roberto Gallardo" userId="49a044883f185952" providerId="LiveId" clId="{C686CE78-4599-4D10-96F1-DED3EA402F7C}"/>
    <pc:docChg chg="custSel addSld delSld modSld modMainMaster replTag">
      <pc:chgData name="Roberto Gallardo" userId="49a044883f185952" providerId="LiveId" clId="{C686CE78-4599-4D10-96F1-DED3EA402F7C}" dt="2023-01-31T22:39:00.830" v="231" actId="1036"/>
      <pc:docMkLst>
        <pc:docMk/>
      </pc:docMkLst>
      <pc:sldChg chg="modSp mod">
        <pc:chgData name="Roberto Gallardo" userId="49a044883f185952" providerId="LiveId" clId="{C686CE78-4599-4D10-96F1-DED3EA402F7C}" dt="2023-01-31T22:38:43.087" v="227" actId="20577"/>
        <pc:sldMkLst>
          <pc:docMk/>
          <pc:sldMk cId="2846901679" sldId="256"/>
        </pc:sldMkLst>
        <pc:spChg chg="mod">
          <ac:chgData name="Roberto Gallardo" userId="49a044883f185952" providerId="LiveId" clId="{C686CE78-4599-4D10-96F1-DED3EA402F7C}" dt="2023-01-31T22:38:43.087" v="227" actId="20577"/>
          <ac:spMkLst>
            <pc:docMk/>
            <pc:sldMk cId="2846901679" sldId="256"/>
            <ac:spMk id="7" creationId="{B1E0ABEC-554C-720A-2772-F0324C8E93CA}"/>
          </ac:spMkLst>
        </pc:spChg>
      </pc:sldChg>
      <pc:sldChg chg="modSp mod">
        <pc:chgData name="Roberto Gallardo" userId="49a044883f185952" providerId="LiveId" clId="{C686CE78-4599-4D10-96F1-DED3EA402F7C}" dt="2023-01-31T22:39:00.830" v="231" actId="1036"/>
        <pc:sldMkLst>
          <pc:docMk/>
          <pc:sldMk cId="513409896" sldId="276"/>
        </pc:sldMkLst>
        <pc:spChg chg="mod">
          <ac:chgData name="Roberto Gallardo" userId="49a044883f185952" providerId="LiveId" clId="{C686CE78-4599-4D10-96F1-DED3EA402F7C}" dt="2023-01-31T22:39:00.830" v="231" actId="1036"/>
          <ac:spMkLst>
            <pc:docMk/>
            <pc:sldMk cId="513409896" sldId="276"/>
            <ac:spMk id="3" creationId="{AADBAC77-8094-925B-9C83-2132E5A4A84C}"/>
          </ac:spMkLst>
        </pc:spChg>
        <pc:spChg chg="mod">
          <ac:chgData name="Roberto Gallardo" userId="49a044883f185952" providerId="LiveId" clId="{C686CE78-4599-4D10-96F1-DED3EA402F7C}" dt="2023-01-31T22:39:00.830" v="231" actId="1036"/>
          <ac:spMkLst>
            <pc:docMk/>
            <pc:sldMk cId="513409896" sldId="276"/>
            <ac:spMk id="5" creationId="{EA0F984F-F15C-B54F-E4CE-75954416187D}"/>
          </ac:spMkLst>
        </pc:spChg>
      </pc:sldChg>
      <pc:sldChg chg="modSp mod">
        <pc:chgData name="Roberto Gallardo" userId="49a044883f185952" providerId="LiveId" clId="{C686CE78-4599-4D10-96F1-DED3EA402F7C}" dt="2023-01-15T18:21:29.704" v="4" actId="20577"/>
        <pc:sldMkLst>
          <pc:docMk/>
          <pc:sldMk cId="349244952" sldId="278"/>
        </pc:sldMkLst>
        <pc:spChg chg="mod">
          <ac:chgData name="Roberto Gallardo" userId="49a044883f185952" providerId="LiveId" clId="{C686CE78-4599-4D10-96F1-DED3EA402F7C}" dt="2023-01-15T18:21:29.704" v="4" actId="20577"/>
          <ac:spMkLst>
            <pc:docMk/>
            <pc:sldMk cId="349244952" sldId="278"/>
            <ac:spMk id="2" creationId="{C03B1400-5F72-D252-1DBE-EDCD6E63B07C}"/>
          </ac:spMkLst>
        </pc:spChg>
      </pc:sldChg>
      <pc:sldChg chg="addSp delSp modSp mod">
        <pc:chgData name="Roberto Gallardo" userId="49a044883f185952" providerId="LiveId" clId="{C686CE78-4599-4D10-96F1-DED3EA402F7C}" dt="2023-01-18T00:25:02.029" v="214" actId="20577"/>
        <pc:sldMkLst>
          <pc:docMk/>
          <pc:sldMk cId="3324519687" sldId="293"/>
        </pc:sldMkLst>
        <pc:spChg chg="mod">
          <ac:chgData name="Roberto Gallardo" userId="49a044883f185952" providerId="LiveId" clId="{C686CE78-4599-4D10-96F1-DED3EA402F7C}" dt="2023-01-18T00:24:46.264" v="35" actId="948"/>
          <ac:spMkLst>
            <pc:docMk/>
            <pc:sldMk cId="3324519687" sldId="293"/>
            <ac:spMk id="2" creationId="{C03B1400-5F72-D252-1DBE-EDCD6E63B07C}"/>
          </ac:spMkLst>
        </pc:spChg>
        <pc:spChg chg="mod">
          <ac:chgData name="Roberto Gallardo" userId="49a044883f185952" providerId="LiveId" clId="{C686CE78-4599-4D10-96F1-DED3EA402F7C}" dt="2023-01-18T00:25:02.029" v="214" actId="20577"/>
          <ac:spMkLst>
            <pc:docMk/>
            <pc:sldMk cId="3324519687" sldId="293"/>
            <ac:spMk id="3" creationId="{AF651823-818E-912D-E331-CDEB914505A8}"/>
          </ac:spMkLst>
        </pc:spChg>
        <pc:spChg chg="add del mod modVis">
          <ac:chgData name="Roberto Gallardo" userId="49a044883f185952" providerId="LiveId" clId="{C686CE78-4599-4D10-96F1-DED3EA402F7C}" dt="2023-01-18T00:24:46.332" v="114"/>
          <ac:spMkLst>
            <pc:docMk/>
            <pc:sldMk cId="3324519687" sldId="293"/>
            <ac:spMk id="5" creationId="{844468D7-38F3-A5D5-D771-5523270D959F}"/>
          </ac:spMkLst>
        </pc:spChg>
        <pc:graphicFrameChg chg="add mod ord modVis replST">
          <ac:chgData name="Roberto Gallardo" userId="49a044883f185952" providerId="LiveId" clId="{C686CE78-4599-4D10-96F1-DED3EA402F7C}" dt="2023-01-18T00:24:46.352" v="130"/>
          <ac:graphicFrameMkLst>
            <pc:docMk/>
            <pc:sldMk cId="3324519687" sldId="293"/>
            <ac:graphicFrameMk id="8" creationId="{57EAAF7B-280C-3784-2092-B19FC599496E}"/>
          </ac:graphicFrameMkLst>
        </pc:graphicFrameChg>
      </pc:sldChg>
      <pc:sldChg chg="del">
        <pc:chgData name="Roberto Gallardo" userId="49a044883f185952" providerId="LiveId" clId="{C686CE78-4599-4D10-96F1-DED3EA402F7C}" dt="2023-01-17T23:32:09.637" v="6" actId="47"/>
        <pc:sldMkLst>
          <pc:docMk/>
          <pc:sldMk cId="230398305" sldId="301"/>
        </pc:sldMkLst>
      </pc:sldChg>
      <pc:sldChg chg="add">
        <pc:chgData name="Roberto Gallardo" userId="49a044883f185952" providerId="LiveId" clId="{C686CE78-4599-4D10-96F1-DED3EA402F7C}" dt="2023-01-17T23:32:07.917" v="5"/>
        <pc:sldMkLst>
          <pc:docMk/>
          <pc:sldMk cId="1515423683" sldId="302"/>
        </pc:sldMkLst>
      </pc:sldChg>
      <pc:sldChg chg="add del">
        <pc:chgData name="Roberto Gallardo" userId="49a044883f185952" providerId="LiveId" clId="{C686CE78-4599-4D10-96F1-DED3EA402F7C}" dt="2023-01-17T23:36:45.025" v="9" actId="47"/>
        <pc:sldMkLst>
          <pc:docMk/>
          <pc:sldMk cId="1864939043" sldId="303"/>
        </pc:sldMkLst>
      </pc:sldChg>
      <pc:sldChg chg="add mod">
        <pc:chgData name="Roberto Gallardo" userId="49a044883f185952" providerId="LiveId" clId="{C686CE78-4599-4D10-96F1-DED3EA402F7C}" dt="2023-01-18T00:23:23.345" v="19" actId="27918"/>
        <pc:sldMkLst>
          <pc:docMk/>
          <pc:sldMk cId="2841628872" sldId="303"/>
        </pc:sldMkLst>
      </pc:sldChg>
      <pc:sldChg chg="add del">
        <pc:chgData name="Roberto Gallardo" userId="49a044883f185952" providerId="LiveId" clId="{C686CE78-4599-4D10-96F1-DED3EA402F7C}" dt="2023-01-17T23:36:45.025" v="9" actId="47"/>
        <pc:sldMkLst>
          <pc:docMk/>
          <pc:sldMk cId="2841628872" sldId="304"/>
        </pc:sldMkLst>
      </pc:sldChg>
      <pc:sldChg chg="add mod">
        <pc:chgData name="Roberto Gallardo" userId="49a044883f185952" providerId="LiveId" clId="{C686CE78-4599-4D10-96F1-DED3EA402F7C}" dt="2023-01-18T00:23:52.158" v="26" actId="27918"/>
        <pc:sldMkLst>
          <pc:docMk/>
          <pc:sldMk cId="3084076302" sldId="304"/>
        </pc:sldMkLst>
      </pc:sldChg>
      <pc:sldChg chg="add mod">
        <pc:chgData name="Roberto Gallardo" userId="49a044883f185952" providerId="LiveId" clId="{C686CE78-4599-4D10-96F1-DED3EA402F7C}" dt="2023-01-18T00:24:26.004" v="33" actId="27918"/>
        <pc:sldMkLst>
          <pc:docMk/>
          <pc:sldMk cId="473712435" sldId="305"/>
        </pc:sldMkLst>
      </pc:sldChg>
      <pc:sldMasterChg chg="addSp delSp modSp mod">
        <pc:chgData name="Roberto Gallardo" userId="49a044883f185952" providerId="LiveId" clId="{C686CE78-4599-4D10-96F1-DED3EA402F7C}" dt="2023-01-18T00:24:46.373" v="148"/>
        <pc:sldMasterMkLst>
          <pc:docMk/>
          <pc:sldMasterMk cId="3307510214" sldId="2147483648"/>
        </pc:sldMasterMkLst>
        <pc:spChg chg="mod">
          <ac:chgData name="Roberto Gallardo" userId="49a044883f185952" providerId="LiveId" clId="{C686CE78-4599-4D10-96F1-DED3EA402F7C}" dt="2023-01-18T00:24:46.305" v="73" actId="948"/>
          <ac:spMkLst>
            <pc:docMk/>
            <pc:sldMasterMk cId="3307510214" sldId="2147483648"/>
            <ac:spMk id="2" creationId="{41467D0C-C34C-D407-FA21-BABC59489709}"/>
          </ac:spMkLst>
        </pc:spChg>
        <pc:spChg chg="add del mod modVis">
          <ac:chgData name="Roberto Gallardo" userId="49a044883f185952" providerId="LiveId" clId="{C686CE78-4599-4D10-96F1-DED3EA402F7C}" dt="2023-01-18T00:24:46.353" v="132"/>
          <ac:spMkLst>
            <pc:docMk/>
            <pc:sldMasterMk cId="3307510214" sldId="2147483648"/>
            <ac:spMk id="7" creationId="{99CC72A2-40FC-D287-27BB-9AC0B2A7D4DA}"/>
          </ac:spMkLst>
        </pc:spChg>
        <pc:graphicFrameChg chg="add mod ord modVis replST">
          <ac:chgData name="Roberto Gallardo" userId="49a044883f185952" providerId="LiveId" clId="{C686CE78-4599-4D10-96F1-DED3EA402F7C}" dt="2023-01-18T00:24:46.373" v="148"/>
          <ac:graphicFrameMkLst>
            <pc:docMk/>
            <pc:sldMasterMk cId="3307510214" sldId="2147483648"/>
            <ac:graphicFrameMk id="8" creationId="{75EFAB37-C0FB-7B87-780A-589F0D690864}"/>
          </ac:graphicFrameMkLst>
        </pc:graphicFrameChg>
      </pc:sldMasterChg>
    </pc:docChg>
  </pc:docChgLst>
  <pc:docChgLst>
    <pc:chgData name="Roberto Gallardo" userId="49a044883f185952" providerId="LiveId" clId="{1A9A5981-ADF0-4F53-90C3-26FE35B7311F}"/>
    <pc:docChg chg="modSld">
      <pc:chgData name="Roberto Gallardo" userId="49a044883f185952" providerId="LiveId" clId="{1A9A5981-ADF0-4F53-90C3-26FE35B7311F}" dt="2023-01-08T20:41:28.709" v="28" actId="27918"/>
      <pc:docMkLst>
        <pc:docMk/>
      </pc:docMkLst>
      <pc:sldChg chg="modSp mod">
        <pc:chgData name="Roberto Gallardo" userId="49a044883f185952" providerId="LiveId" clId="{1A9A5981-ADF0-4F53-90C3-26FE35B7311F}" dt="2023-01-08T20:40:35.111" v="22" actId="20577"/>
        <pc:sldMkLst>
          <pc:docMk/>
          <pc:sldMk cId="2846901679" sldId="256"/>
        </pc:sldMkLst>
        <pc:spChg chg="mod">
          <ac:chgData name="Roberto Gallardo" userId="49a044883f185952" providerId="LiveId" clId="{1A9A5981-ADF0-4F53-90C3-26FE35B7311F}" dt="2023-01-08T20:40:35.111" v="22" actId="20577"/>
          <ac:spMkLst>
            <pc:docMk/>
            <pc:sldMk cId="2846901679" sldId="256"/>
            <ac:spMk id="7" creationId="{B1E0ABEC-554C-720A-2772-F0324C8E93CA}"/>
          </ac:spMkLst>
        </pc:spChg>
      </pc:sldChg>
      <pc:sldChg chg="mod">
        <pc:chgData name="Roberto Gallardo" userId="49a044883f185952" providerId="LiveId" clId="{1A9A5981-ADF0-4F53-90C3-26FE35B7311F}" dt="2023-01-08T20:41:28.709" v="28" actId="27918"/>
        <pc:sldMkLst>
          <pc:docMk/>
          <pc:sldMk cId="3877078759" sldId="260"/>
        </pc:sldMkLst>
      </pc:sldChg>
      <pc:sldChg chg="modSp mod">
        <pc:chgData name="Roberto Gallardo" userId="49a044883f185952" providerId="LiveId" clId="{1A9A5981-ADF0-4F53-90C3-26FE35B7311F}" dt="2023-01-08T20:41:00.446" v="25" actId="20577"/>
        <pc:sldMkLst>
          <pc:docMk/>
          <pc:sldMk cId="543148149" sldId="277"/>
        </pc:sldMkLst>
        <pc:spChg chg="mod">
          <ac:chgData name="Roberto Gallardo" userId="49a044883f185952" providerId="LiveId" clId="{1A9A5981-ADF0-4F53-90C3-26FE35B7311F}" dt="2023-01-08T20:41:00.446" v="25" actId="20577"/>
          <ac:spMkLst>
            <pc:docMk/>
            <pc:sldMk cId="543148149" sldId="277"/>
            <ac:spMk id="5" creationId="{6AE302AC-8931-4144-BE52-DD1A8BA82462}"/>
          </ac:spMkLst>
        </pc:spChg>
        <pc:picChg chg="ord">
          <ac:chgData name="Roberto Gallardo" userId="49a044883f185952" providerId="LiveId" clId="{1A9A5981-ADF0-4F53-90C3-26FE35B7311F}" dt="2023-01-08T20:40:55.930" v="23" actId="167"/>
          <ac:picMkLst>
            <pc:docMk/>
            <pc:sldMk cId="543148149" sldId="277"/>
            <ac:picMk id="15" creationId="{B191D37B-F1CD-5A9C-06B8-E0E4181E0306}"/>
          </ac:picMkLst>
        </pc:picChg>
      </pc:sldChg>
    </pc:docChg>
  </pc:docChgLst>
  <pc:docChgLst>
    <pc:chgData name="Roberto Gallardo" userId="49a044883f185952" providerId="LiveId" clId="{EA816444-12AF-42CB-BCED-EC7E3492E202}"/>
    <pc:docChg chg="modSld">
      <pc:chgData name="Roberto Gallardo" userId="49a044883f185952" providerId="LiveId" clId="{EA816444-12AF-42CB-BCED-EC7E3492E202}" dt="2023-02-07T23:52:31.103" v="444" actId="27918"/>
      <pc:docMkLst>
        <pc:docMk/>
      </pc:docMkLst>
      <pc:sldChg chg="modSp mod">
        <pc:chgData name="Roberto Gallardo" userId="49a044883f185952" providerId="LiveId" clId="{EA816444-12AF-42CB-BCED-EC7E3492E202}" dt="2023-02-07T23:21:13.806" v="7" actId="20577"/>
        <pc:sldMkLst>
          <pc:docMk/>
          <pc:sldMk cId="2846901679" sldId="256"/>
        </pc:sldMkLst>
        <pc:spChg chg="mod">
          <ac:chgData name="Roberto Gallardo" userId="49a044883f185952" providerId="LiveId" clId="{EA816444-12AF-42CB-BCED-EC7E3492E202}" dt="2023-02-07T23:21:13.806" v="7" actId="20577"/>
          <ac:spMkLst>
            <pc:docMk/>
            <pc:sldMk cId="2846901679" sldId="256"/>
            <ac:spMk id="7" creationId="{B1E0ABEC-554C-720A-2772-F0324C8E93CA}"/>
          </ac:spMkLst>
        </pc:spChg>
      </pc:sldChg>
      <pc:sldChg chg="mod">
        <pc:chgData name="Roberto Gallardo" userId="49a044883f185952" providerId="LiveId" clId="{EA816444-12AF-42CB-BCED-EC7E3492E202}" dt="2023-02-07T23:24:31.267" v="31" actId="27918"/>
        <pc:sldMkLst>
          <pc:docMk/>
          <pc:sldMk cId="3231157596" sldId="257"/>
        </pc:sldMkLst>
      </pc:sldChg>
      <pc:sldChg chg="mod">
        <pc:chgData name="Roberto Gallardo" userId="49a044883f185952" providerId="LiveId" clId="{EA816444-12AF-42CB-BCED-EC7E3492E202}" dt="2023-02-07T23:23:28.145" v="19" actId="27918"/>
        <pc:sldMkLst>
          <pc:docMk/>
          <pc:sldMk cId="3702837515" sldId="258"/>
        </pc:sldMkLst>
      </pc:sldChg>
      <pc:sldChg chg="mod">
        <pc:chgData name="Roberto Gallardo" userId="49a044883f185952" providerId="LiveId" clId="{EA816444-12AF-42CB-BCED-EC7E3492E202}" dt="2023-02-07T23:23:59.031" v="25" actId="27918"/>
        <pc:sldMkLst>
          <pc:docMk/>
          <pc:sldMk cId="2519083202" sldId="259"/>
        </pc:sldMkLst>
      </pc:sldChg>
      <pc:sldChg chg="mod">
        <pc:chgData name="Roberto Gallardo" userId="49a044883f185952" providerId="LiveId" clId="{EA816444-12AF-42CB-BCED-EC7E3492E202}" dt="2023-02-07T23:22:47.861" v="13" actId="27918"/>
        <pc:sldMkLst>
          <pc:docMk/>
          <pc:sldMk cId="3877078759" sldId="260"/>
        </pc:sldMkLst>
      </pc:sldChg>
      <pc:sldChg chg="mod">
        <pc:chgData name="Roberto Gallardo" userId="49a044883f185952" providerId="LiveId" clId="{EA816444-12AF-42CB-BCED-EC7E3492E202}" dt="2023-02-07T23:26:40.986" v="55" actId="27918"/>
        <pc:sldMkLst>
          <pc:docMk/>
          <pc:sldMk cId="1175010214" sldId="261"/>
        </pc:sldMkLst>
      </pc:sldChg>
      <pc:sldChg chg="addSp modSp mod">
        <pc:chgData name="Roberto Gallardo" userId="49a044883f185952" providerId="LiveId" clId="{EA816444-12AF-42CB-BCED-EC7E3492E202}" dt="2023-02-07T23:27:44.683" v="69" actId="1076"/>
        <pc:sldMkLst>
          <pc:docMk/>
          <pc:sldMk cId="1418533539" sldId="271"/>
        </pc:sldMkLst>
        <pc:picChg chg="add mod">
          <ac:chgData name="Roberto Gallardo" userId="49a044883f185952" providerId="LiveId" clId="{EA816444-12AF-42CB-BCED-EC7E3492E202}" dt="2023-02-07T23:27:44.683" v="69" actId="1076"/>
          <ac:picMkLst>
            <pc:docMk/>
            <pc:sldMk cId="1418533539" sldId="271"/>
            <ac:picMk id="6" creationId="{F62F9F21-8480-5879-42D5-5F985FBE8402}"/>
          </ac:picMkLst>
        </pc:picChg>
      </pc:sldChg>
      <pc:sldChg chg="mod">
        <pc:chgData name="Roberto Gallardo" userId="49a044883f185952" providerId="LiveId" clId="{EA816444-12AF-42CB-BCED-EC7E3492E202}" dt="2023-02-07T23:25:03.873" v="37" actId="27918"/>
        <pc:sldMkLst>
          <pc:docMk/>
          <pc:sldMk cId="2653937722" sldId="272"/>
        </pc:sldMkLst>
      </pc:sldChg>
      <pc:sldChg chg="mod">
        <pc:chgData name="Roberto Gallardo" userId="49a044883f185952" providerId="LiveId" clId="{EA816444-12AF-42CB-BCED-EC7E3492E202}" dt="2023-02-07T23:50:33.190" v="401" actId="27918"/>
        <pc:sldMkLst>
          <pc:docMk/>
          <pc:sldMk cId="2076698419" sldId="273"/>
        </pc:sldMkLst>
      </pc:sldChg>
      <pc:sldChg chg="mod">
        <pc:chgData name="Roberto Gallardo" userId="49a044883f185952" providerId="LiveId" clId="{EA816444-12AF-42CB-BCED-EC7E3492E202}" dt="2023-02-07T23:52:08.927" v="438" actId="27918"/>
        <pc:sldMkLst>
          <pc:docMk/>
          <pc:sldMk cId="3802335161" sldId="274"/>
        </pc:sldMkLst>
      </pc:sldChg>
      <pc:sldChg chg="mod">
        <pc:chgData name="Roberto Gallardo" userId="49a044883f185952" providerId="LiveId" clId="{EA816444-12AF-42CB-BCED-EC7E3492E202}" dt="2023-02-07T23:52:31.103" v="444" actId="27918"/>
        <pc:sldMkLst>
          <pc:docMk/>
          <pc:sldMk cId="4292554322" sldId="275"/>
        </pc:sldMkLst>
      </pc:sldChg>
      <pc:sldChg chg="modSp mod">
        <pc:chgData name="Roberto Gallardo" userId="49a044883f185952" providerId="LiveId" clId="{EA816444-12AF-42CB-BCED-EC7E3492E202}" dt="2023-02-07T23:51:44.262" v="434" actId="1035"/>
        <pc:sldMkLst>
          <pc:docMk/>
          <pc:sldMk cId="513409896" sldId="276"/>
        </pc:sldMkLst>
        <pc:spChg chg="mod">
          <ac:chgData name="Roberto Gallardo" userId="49a044883f185952" providerId="LiveId" clId="{EA816444-12AF-42CB-BCED-EC7E3492E202}" dt="2023-02-07T23:51:44.262" v="434" actId="1035"/>
          <ac:spMkLst>
            <pc:docMk/>
            <pc:sldMk cId="513409896" sldId="276"/>
            <ac:spMk id="21" creationId="{9A68ADBE-AECC-EE60-7E94-3675B33E08AE}"/>
          </ac:spMkLst>
        </pc:spChg>
        <pc:graphicFrameChg chg="mod">
          <ac:chgData name="Roberto Gallardo" userId="49a044883f185952" providerId="LiveId" clId="{EA816444-12AF-42CB-BCED-EC7E3492E202}" dt="2023-02-07T23:51:22.689" v="419"/>
          <ac:graphicFrameMkLst>
            <pc:docMk/>
            <pc:sldMk cId="513409896" sldId="276"/>
            <ac:graphicFrameMk id="10" creationId="{FD2FC231-ACEF-5FF2-C4CE-DFF89EB85588}"/>
          </ac:graphicFrameMkLst>
        </pc:graphicFrameChg>
        <pc:cxnChg chg="mod">
          <ac:chgData name="Roberto Gallardo" userId="49a044883f185952" providerId="LiveId" clId="{EA816444-12AF-42CB-BCED-EC7E3492E202}" dt="2023-02-07T23:51:38.784" v="430" actId="1036"/>
          <ac:cxnSpMkLst>
            <pc:docMk/>
            <pc:sldMk cId="513409896" sldId="276"/>
            <ac:cxnSpMk id="22" creationId="{1B423FA0-E4B3-6570-929B-A9283D503787}"/>
          </ac:cxnSpMkLst>
        </pc:cxnChg>
        <pc:cxnChg chg="mod">
          <ac:chgData name="Roberto Gallardo" userId="49a044883f185952" providerId="LiveId" clId="{EA816444-12AF-42CB-BCED-EC7E3492E202}" dt="2023-02-07T23:51:15.619" v="417" actId="1035"/>
          <ac:cxnSpMkLst>
            <pc:docMk/>
            <pc:sldMk cId="513409896" sldId="276"/>
            <ac:cxnSpMk id="23" creationId="{D616797E-0044-3804-BA5A-23B8EB309CA5}"/>
          </ac:cxnSpMkLst>
        </pc:cxnChg>
        <pc:cxnChg chg="mod">
          <ac:chgData name="Roberto Gallardo" userId="49a044883f185952" providerId="LiveId" clId="{EA816444-12AF-42CB-BCED-EC7E3492E202}" dt="2023-02-07T23:51:20.293" v="418" actId="14100"/>
          <ac:cxnSpMkLst>
            <pc:docMk/>
            <pc:sldMk cId="513409896" sldId="276"/>
            <ac:cxnSpMk id="24" creationId="{20A6256E-6780-BAE0-B803-D02FE024579F}"/>
          </ac:cxnSpMkLst>
        </pc:cxnChg>
        <pc:cxnChg chg="mod">
          <ac:chgData name="Roberto Gallardo" userId="49a044883f185952" providerId="LiveId" clId="{EA816444-12AF-42CB-BCED-EC7E3492E202}" dt="2023-02-07T23:51:38.784" v="430" actId="1036"/>
          <ac:cxnSpMkLst>
            <pc:docMk/>
            <pc:sldMk cId="513409896" sldId="276"/>
            <ac:cxnSpMk id="25" creationId="{62B7492E-2C75-E0CD-947E-C582F412F7D7}"/>
          </ac:cxnSpMkLst>
        </pc:cxnChg>
      </pc:sldChg>
      <pc:sldChg chg="mod">
        <pc:chgData name="Roberto Gallardo" userId="49a044883f185952" providerId="LiveId" clId="{EA816444-12AF-42CB-BCED-EC7E3492E202}" dt="2023-02-07T23:50:12.355" v="396" actId="27918"/>
        <pc:sldMkLst>
          <pc:docMk/>
          <pc:sldMk cId="349244952" sldId="278"/>
        </pc:sldMkLst>
      </pc:sldChg>
      <pc:sldChg chg="addSp modSp mod">
        <pc:chgData name="Roberto Gallardo" userId="49a044883f185952" providerId="LiveId" clId="{EA816444-12AF-42CB-BCED-EC7E3492E202}" dt="2023-02-07T23:33:48.575" v="158" actId="1076"/>
        <pc:sldMkLst>
          <pc:docMk/>
          <pc:sldMk cId="2124848710" sldId="281"/>
        </pc:sldMkLst>
        <pc:picChg chg="add mod">
          <ac:chgData name="Roberto Gallardo" userId="49a044883f185952" providerId="LiveId" clId="{EA816444-12AF-42CB-BCED-EC7E3492E202}" dt="2023-02-07T23:33:48.575" v="158" actId="1076"/>
          <ac:picMkLst>
            <pc:docMk/>
            <pc:sldMk cId="2124848710" sldId="281"/>
            <ac:picMk id="5" creationId="{A0949407-F65E-DBD8-37FA-DAF9B709C4A5}"/>
          </ac:picMkLst>
        </pc:picChg>
      </pc:sldChg>
      <pc:sldChg chg="addSp modSp mod">
        <pc:chgData name="Roberto Gallardo" userId="49a044883f185952" providerId="LiveId" clId="{EA816444-12AF-42CB-BCED-EC7E3492E202}" dt="2023-02-07T23:34:59.508" v="174" actId="1076"/>
        <pc:sldMkLst>
          <pc:docMk/>
          <pc:sldMk cId="2028175529" sldId="282"/>
        </pc:sldMkLst>
        <pc:picChg chg="add mod">
          <ac:chgData name="Roberto Gallardo" userId="49a044883f185952" providerId="LiveId" clId="{EA816444-12AF-42CB-BCED-EC7E3492E202}" dt="2023-02-07T23:34:59.508" v="174" actId="1076"/>
          <ac:picMkLst>
            <pc:docMk/>
            <pc:sldMk cId="2028175529" sldId="282"/>
            <ac:picMk id="5" creationId="{475C80D9-EDDD-5480-F831-712110FB2C95}"/>
          </ac:picMkLst>
        </pc:picChg>
      </pc:sldChg>
      <pc:sldChg chg="addSp modSp mod">
        <pc:chgData name="Roberto Gallardo" userId="49a044883f185952" providerId="LiveId" clId="{EA816444-12AF-42CB-BCED-EC7E3492E202}" dt="2023-02-07T23:36:56.224" v="191" actId="1076"/>
        <pc:sldMkLst>
          <pc:docMk/>
          <pc:sldMk cId="1326517747" sldId="283"/>
        </pc:sldMkLst>
        <pc:picChg chg="add mod">
          <ac:chgData name="Roberto Gallardo" userId="49a044883f185952" providerId="LiveId" clId="{EA816444-12AF-42CB-BCED-EC7E3492E202}" dt="2023-02-07T23:36:56.224" v="191" actId="1076"/>
          <ac:picMkLst>
            <pc:docMk/>
            <pc:sldMk cId="1326517747" sldId="283"/>
            <ac:picMk id="5" creationId="{F8975853-83FE-ACB3-00B5-94FC8D528009}"/>
          </ac:picMkLst>
        </pc:picChg>
      </pc:sldChg>
      <pc:sldChg chg="addSp modSp mod">
        <pc:chgData name="Roberto Gallardo" userId="49a044883f185952" providerId="LiveId" clId="{EA816444-12AF-42CB-BCED-EC7E3492E202}" dt="2023-02-07T23:38:59.180" v="210" actId="14100"/>
        <pc:sldMkLst>
          <pc:docMk/>
          <pc:sldMk cId="783739251" sldId="284"/>
        </pc:sldMkLst>
        <pc:picChg chg="add mod">
          <ac:chgData name="Roberto Gallardo" userId="49a044883f185952" providerId="LiveId" clId="{EA816444-12AF-42CB-BCED-EC7E3492E202}" dt="2023-02-07T23:38:59.180" v="210" actId="14100"/>
          <ac:picMkLst>
            <pc:docMk/>
            <pc:sldMk cId="783739251" sldId="284"/>
            <ac:picMk id="5" creationId="{8D434528-539D-C97C-ECEE-B126BEE65F79}"/>
          </ac:picMkLst>
        </pc:picChg>
      </pc:sldChg>
      <pc:sldChg chg="addSp modSp mod">
        <pc:chgData name="Roberto Gallardo" userId="49a044883f185952" providerId="LiveId" clId="{EA816444-12AF-42CB-BCED-EC7E3492E202}" dt="2023-02-07T23:40:08.714" v="229" actId="1076"/>
        <pc:sldMkLst>
          <pc:docMk/>
          <pc:sldMk cId="1676122233" sldId="285"/>
        </pc:sldMkLst>
        <pc:picChg chg="add mod">
          <ac:chgData name="Roberto Gallardo" userId="49a044883f185952" providerId="LiveId" clId="{EA816444-12AF-42CB-BCED-EC7E3492E202}" dt="2023-02-07T23:40:08.714" v="229" actId="1076"/>
          <ac:picMkLst>
            <pc:docMk/>
            <pc:sldMk cId="1676122233" sldId="285"/>
            <ac:picMk id="5" creationId="{B4502745-FB5D-7513-0F17-9B2D3489D7FB}"/>
          </ac:picMkLst>
        </pc:picChg>
      </pc:sldChg>
      <pc:sldChg chg="addSp modSp mod">
        <pc:chgData name="Roberto Gallardo" userId="49a044883f185952" providerId="LiveId" clId="{EA816444-12AF-42CB-BCED-EC7E3492E202}" dt="2023-02-07T23:41:14.808" v="245" actId="1076"/>
        <pc:sldMkLst>
          <pc:docMk/>
          <pc:sldMk cId="3100398757" sldId="286"/>
        </pc:sldMkLst>
        <pc:picChg chg="add mod">
          <ac:chgData name="Roberto Gallardo" userId="49a044883f185952" providerId="LiveId" clId="{EA816444-12AF-42CB-BCED-EC7E3492E202}" dt="2023-02-07T23:41:14.808" v="245" actId="1076"/>
          <ac:picMkLst>
            <pc:docMk/>
            <pc:sldMk cId="3100398757" sldId="286"/>
            <ac:picMk id="5" creationId="{1028A14C-4417-44AF-ACA8-F61BBECD1425}"/>
          </ac:picMkLst>
        </pc:picChg>
      </pc:sldChg>
      <pc:sldChg chg="addSp modSp mod">
        <pc:chgData name="Roberto Gallardo" userId="49a044883f185952" providerId="LiveId" clId="{EA816444-12AF-42CB-BCED-EC7E3492E202}" dt="2023-02-07T23:42:28.416" v="264" actId="1076"/>
        <pc:sldMkLst>
          <pc:docMk/>
          <pc:sldMk cId="1546475425" sldId="287"/>
        </pc:sldMkLst>
        <pc:picChg chg="add mod">
          <ac:chgData name="Roberto Gallardo" userId="49a044883f185952" providerId="LiveId" clId="{EA816444-12AF-42CB-BCED-EC7E3492E202}" dt="2023-02-07T23:42:28.416" v="264" actId="1076"/>
          <ac:picMkLst>
            <pc:docMk/>
            <pc:sldMk cId="1546475425" sldId="287"/>
            <ac:picMk id="5" creationId="{C5E1E78C-2FDB-681C-1389-1E235E3F9502}"/>
          </ac:picMkLst>
        </pc:picChg>
      </pc:sldChg>
      <pc:sldChg chg="addSp modSp mod">
        <pc:chgData name="Roberto Gallardo" userId="49a044883f185952" providerId="LiveId" clId="{EA816444-12AF-42CB-BCED-EC7E3492E202}" dt="2023-02-07T23:44:48.827" v="309" actId="1037"/>
        <pc:sldMkLst>
          <pc:docMk/>
          <pc:sldMk cId="1380517306" sldId="288"/>
        </pc:sldMkLst>
        <pc:picChg chg="add mod">
          <ac:chgData name="Roberto Gallardo" userId="49a044883f185952" providerId="LiveId" clId="{EA816444-12AF-42CB-BCED-EC7E3492E202}" dt="2023-02-07T23:44:48.827" v="309" actId="1037"/>
          <ac:picMkLst>
            <pc:docMk/>
            <pc:sldMk cId="1380517306" sldId="288"/>
            <ac:picMk id="5" creationId="{7ED21A6B-473E-9465-383A-3921B8C23BE3}"/>
          </ac:picMkLst>
        </pc:picChg>
      </pc:sldChg>
      <pc:sldChg chg="addSp modSp mod">
        <pc:chgData name="Roberto Gallardo" userId="49a044883f185952" providerId="LiveId" clId="{EA816444-12AF-42CB-BCED-EC7E3492E202}" dt="2023-02-07T23:46:01.216" v="333" actId="1038"/>
        <pc:sldMkLst>
          <pc:docMk/>
          <pc:sldMk cId="1388671151" sldId="289"/>
        </pc:sldMkLst>
        <pc:picChg chg="add mod">
          <ac:chgData name="Roberto Gallardo" userId="49a044883f185952" providerId="LiveId" clId="{EA816444-12AF-42CB-BCED-EC7E3492E202}" dt="2023-02-07T23:46:01.216" v="333" actId="1038"/>
          <ac:picMkLst>
            <pc:docMk/>
            <pc:sldMk cId="1388671151" sldId="289"/>
            <ac:picMk id="5" creationId="{7FF4B99B-DBD3-B8AA-E947-1A0DA9584571}"/>
          </ac:picMkLst>
        </pc:picChg>
      </pc:sldChg>
      <pc:sldChg chg="addSp modSp mod">
        <pc:chgData name="Roberto Gallardo" userId="49a044883f185952" providerId="LiveId" clId="{EA816444-12AF-42CB-BCED-EC7E3492E202}" dt="2023-02-07T23:48:30.313" v="371" actId="1076"/>
        <pc:sldMkLst>
          <pc:docMk/>
          <pc:sldMk cId="2355376039" sldId="290"/>
        </pc:sldMkLst>
        <pc:picChg chg="add mod">
          <ac:chgData name="Roberto Gallardo" userId="49a044883f185952" providerId="LiveId" clId="{EA816444-12AF-42CB-BCED-EC7E3492E202}" dt="2023-02-07T23:48:30.313" v="371" actId="1076"/>
          <ac:picMkLst>
            <pc:docMk/>
            <pc:sldMk cId="2355376039" sldId="290"/>
            <ac:picMk id="8" creationId="{CED1A025-A5E6-E98F-C378-8111305D32B8}"/>
          </ac:picMkLst>
        </pc:picChg>
      </pc:sldChg>
      <pc:sldChg chg="addSp modSp mod">
        <pc:chgData name="Roberto Gallardo" userId="49a044883f185952" providerId="LiveId" clId="{EA816444-12AF-42CB-BCED-EC7E3492E202}" dt="2023-02-07T23:49:48.030" v="391" actId="1076"/>
        <pc:sldMkLst>
          <pc:docMk/>
          <pc:sldMk cId="3757257295" sldId="291"/>
        </pc:sldMkLst>
        <pc:picChg chg="add mod">
          <ac:chgData name="Roberto Gallardo" userId="49a044883f185952" providerId="LiveId" clId="{EA816444-12AF-42CB-BCED-EC7E3492E202}" dt="2023-02-07T23:49:48.030" v="391" actId="1076"/>
          <ac:picMkLst>
            <pc:docMk/>
            <pc:sldMk cId="3757257295" sldId="291"/>
            <ac:picMk id="7" creationId="{74117F0B-2469-95E4-7E0C-A1F0CA70CD25}"/>
          </ac:picMkLst>
        </pc:picChg>
      </pc:sldChg>
      <pc:sldChg chg="addSp modSp mod">
        <pc:chgData name="Roberto Gallardo" userId="49a044883f185952" providerId="LiveId" clId="{EA816444-12AF-42CB-BCED-EC7E3492E202}" dt="2023-02-07T23:43:31.809" v="282" actId="1076"/>
        <pc:sldMkLst>
          <pc:docMk/>
          <pc:sldMk cId="1259856727" sldId="292"/>
        </pc:sldMkLst>
        <pc:picChg chg="add mod">
          <ac:chgData name="Roberto Gallardo" userId="49a044883f185952" providerId="LiveId" clId="{EA816444-12AF-42CB-BCED-EC7E3492E202}" dt="2023-02-07T23:43:31.809" v="282" actId="1076"/>
          <ac:picMkLst>
            <pc:docMk/>
            <pc:sldMk cId="1259856727" sldId="292"/>
            <ac:picMk id="5" creationId="{28BDC168-7160-3C58-F722-AB78B3D0BD3C}"/>
          </ac:picMkLst>
        </pc:picChg>
      </pc:sldChg>
      <pc:sldChg chg="addSp modSp mod">
        <pc:chgData name="Roberto Gallardo" userId="49a044883f185952" providerId="LiveId" clId="{EA816444-12AF-42CB-BCED-EC7E3492E202}" dt="2023-02-07T23:32:36.956" v="141" actId="14100"/>
        <pc:sldMkLst>
          <pc:docMk/>
          <pc:sldMk cId="3324519687" sldId="293"/>
        </pc:sldMkLst>
        <pc:picChg chg="add mod">
          <ac:chgData name="Roberto Gallardo" userId="49a044883f185952" providerId="LiveId" clId="{EA816444-12AF-42CB-BCED-EC7E3492E202}" dt="2023-02-07T23:32:36.956" v="141" actId="14100"/>
          <ac:picMkLst>
            <pc:docMk/>
            <pc:sldMk cId="3324519687" sldId="293"/>
            <ac:picMk id="7" creationId="{01831CE0-3306-7644-F88B-5DEC70FB0C99}"/>
          </ac:picMkLst>
        </pc:picChg>
      </pc:sldChg>
      <pc:sldChg chg="addSp modSp mod">
        <pc:chgData name="Roberto Gallardo" userId="49a044883f185952" providerId="LiveId" clId="{EA816444-12AF-42CB-BCED-EC7E3492E202}" dt="2023-02-07T23:30:02.250" v="105" actId="1076"/>
        <pc:sldMkLst>
          <pc:docMk/>
          <pc:sldMk cId="3256182630" sldId="295"/>
        </pc:sldMkLst>
        <pc:picChg chg="add mod">
          <ac:chgData name="Roberto Gallardo" userId="49a044883f185952" providerId="LiveId" clId="{EA816444-12AF-42CB-BCED-EC7E3492E202}" dt="2023-02-07T23:30:02.250" v="105" actId="1076"/>
          <ac:picMkLst>
            <pc:docMk/>
            <pc:sldMk cId="3256182630" sldId="295"/>
            <ac:picMk id="6" creationId="{A3EA4A4C-BCA1-8FDA-D1FD-FA05E8298BD6}"/>
          </ac:picMkLst>
        </pc:picChg>
      </pc:sldChg>
      <pc:sldChg chg="addSp modSp mod">
        <pc:chgData name="Roberto Gallardo" userId="49a044883f185952" providerId="LiveId" clId="{EA816444-12AF-42CB-BCED-EC7E3492E202}" dt="2023-02-07T23:31:18.925" v="123" actId="1076"/>
        <pc:sldMkLst>
          <pc:docMk/>
          <pc:sldMk cId="4057156843" sldId="296"/>
        </pc:sldMkLst>
        <pc:picChg chg="add mod">
          <ac:chgData name="Roberto Gallardo" userId="49a044883f185952" providerId="LiveId" clId="{EA816444-12AF-42CB-BCED-EC7E3492E202}" dt="2023-02-07T23:31:18.925" v="123" actId="1076"/>
          <ac:picMkLst>
            <pc:docMk/>
            <pc:sldMk cId="4057156843" sldId="296"/>
            <ac:picMk id="6" creationId="{F008FCD4-DAD8-C43A-D838-476BF79AE0E0}"/>
          </ac:picMkLst>
        </pc:picChg>
      </pc:sldChg>
      <pc:sldChg chg="addSp modSp mod">
        <pc:chgData name="Roberto Gallardo" userId="49a044883f185952" providerId="LiveId" clId="{EA816444-12AF-42CB-BCED-EC7E3492E202}" dt="2023-02-07T23:28:42.570" v="87" actId="1076"/>
        <pc:sldMkLst>
          <pc:docMk/>
          <pc:sldMk cId="2080110827" sldId="297"/>
        </pc:sldMkLst>
        <pc:picChg chg="add mod">
          <ac:chgData name="Roberto Gallardo" userId="49a044883f185952" providerId="LiveId" clId="{EA816444-12AF-42CB-BCED-EC7E3492E202}" dt="2023-02-07T23:28:42.570" v="87" actId="1076"/>
          <ac:picMkLst>
            <pc:docMk/>
            <pc:sldMk cId="2080110827" sldId="297"/>
            <ac:picMk id="6" creationId="{8783B78A-E096-3062-5227-655EC1E5A6D2}"/>
          </ac:picMkLst>
        </pc:picChg>
      </pc:sldChg>
      <pc:sldChg chg="addSp modSp mod">
        <pc:chgData name="Roberto Gallardo" userId="49a044883f185952" providerId="LiveId" clId="{EA816444-12AF-42CB-BCED-EC7E3492E202}" dt="2023-02-07T23:28:13.928" v="80" actId="1036"/>
        <pc:sldMkLst>
          <pc:docMk/>
          <pc:sldMk cId="1532666867" sldId="298"/>
        </pc:sldMkLst>
        <pc:picChg chg="add mod">
          <ac:chgData name="Roberto Gallardo" userId="49a044883f185952" providerId="LiveId" clId="{EA816444-12AF-42CB-BCED-EC7E3492E202}" dt="2023-02-07T23:28:13.928" v="80" actId="1036"/>
          <ac:picMkLst>
            <pc:docMk/>
            <pc:sldMk cId="1532666867" sldId="298"/>
            <ac:picMk id="6" creationId="{C00E5955-BE21-17F2-6653-01B391A563F5}"/>
          </ac:picMkLst>
        </pc:picChg>
      </pc:sldChg>
      <pc:sldChg chg="addSp modSp mod">
        <pc:chgData name="Roberto Gallardo" userId="49a044883f185952" providerId="LiveId" clId="{EA816444-12AF-42CB-BCED-EC7E3492E202}" dt="2023-02-07T23:47:16.271" v="354" actId="1037"/>
        <pc:sldMkLst>
          <pc:docMk/>
          <pc:sldMk cId="1951376777" sldId="299"/>
        </pc:sldMkLst>
        <pc:picChg chg="add mod">
          <ac:chgData name="Roberto Gallardo" userId="49a044883f185952" providerId="LiveId" clId="{EA816444-12AF-42CB-BCED-EC7E3492E202}" dt="2023-02-07T23:47:16.271" v="354" actId="1037"/>
          <ac:picMkLst>
            <pc:docMk/>
            <pc:sldMk cId="1951376777" sldId="299"/>
            <ac:picMk id="5" creationId="{69CF13D3-60D5-1060-F552-408D2051F5AC}"/>
          </ac:picMkLst>
        </pc:picChg>
      </pc:sldChg>
      <pc:sldChg chg="mod">
        <pc:chgData name="Roberto Gallardo" userId="49a044883f185952" providerId="LiveId" clId="{EA816444-12AF-42CB-BCED-EC7E3492E202}" dt="2023-02-07T23:25:38.587" v="43" actId="27918"/>
        <pc:sldMkLst>
          <pc:docMk/>
          <pc:sldMk cId="2841628872" sldId="303"/>
        </pc:sldMkLst>
      </pc:sldChg>
      <pc:sldChg chg="mod">
        <pc:chgData name="Roberto Gallardo" userId="49a044883f185952" providerId="LiveId" clId="{EA816444-12AF-42CB-BCED-EC7E3492E202}" dt="2023-02-07T23:26:09.763" v="49" actId="27918"/>
        <pc:sldMkLst>
          <pc:docMk/>
          <pc:sldMk cId="3084076302" sldId="304"/>
        </pc:sldMkLst>
      </pc:sldChg>
      <pc:sldChg chg="mod">
        <pc:chgData name="Roberto Gallardo" userId="49a044883f185952" providerId="LiveId" clId="{EA816444-12AF-42CB-BCED-EC7E3492E202}" dt="2023-02-07T23:27:08.828" v="61" actId="27918"/>
        <pc:sldMkLst>
          <pc:docMk/>
          <pc:sldMk cId="473712435" sldId="305"/>
        </pc:sldMkLst>
      </pc:sldChg>
    </pc:docChg>
  </pc:docChgLst>
  <pc:docChgLst>
    <pc:chgData name="Roberto Gallardo" userId="49a044883f185952" providerId="LiveId" clId="{25BE2D22-C10C-457D-82F3-1AE0124C2F97}"/>
    <pc:docChg chg="undo custSel addSld delSld modSld sldOrd">
      <pc:chgData name="Roberto Gallardo" userId="49a044883f185952" providerId="LiveId" clId="{25BE2D22-C10C-457D-82F3-1AE0124C2F97}" dt="2023-01-14T14:25:47.762" v="2326"/>
      <pc:docMkLst>
        <pc:docMk/>
      </pc:docMkLst>
      <pc:sldChg chg="modSp mod">
        <pc:chgData name="Roberto Gallardo" userId="49a044883f185952" providerId="LiveId" clId="{25BE2D22-C10C-457D-82F3-1AE0124C2F97}" dt="2023-01-14T12:50:38.631" v="2288" actId="255"/>
        <pc:sldMkLst>
          <pc:docMk/>
          <pc:sldMk cId="2846901679" sldId="256"/>
        </pc:sldMkLst>
        <pc:spChg chg="mod">
          <ac:chgData name="Roberto Gallardo" userId="49a044883f185952" providerId="LiveId" clId="{25BE2D22-C10C-457D-82F3-1AE0124C2F97}" dt="2023-01-09T23:48:20.133" v="113" actId="14100"/>
          <ac:spMkLst>
            <pc:docMk/>
            <pc:sldMk cId="2846901679" sldId="256"/>
            <ac:spMk id="6" creationId="{EC0D6789-6A37-0043-937E-6C3320ED0C53}"/>
          </ac:spMkLst>
        </pc:spChg>
        <pc:spChg chg="mod">
          <ac:chgData name="Roberto Gallardo" userId="49a044883f185952" providerId="LiveId" clId="{25BE2D22-C10C-457D-82F3-1AE0124C2F97}" dt="2023-01-14T12:50:38.631" v="2288" actId="255"/>
          <ac:spMkLst>
            <pc:docMk/>
            <pc:sldMk cId="2846901679" sldId="256"/>
            <ac:spMk id="7" creationId="{B1E0ABEC-554C-720A-2772-F0324C8E93CA}"/>
          </ac:spMkLst>
        </pc:spChg>
        <pc:cxnChg chg="mod">
          <ac:chgData name="Roberto Gallardo" userId="49a044883f185952" providerId="LiveId" clId="{25BE2D22-C10C-457D-82F3-1AE0124C2F97}" dt="2023-01-09T23:48:30.516" v="114" actId="1076"/>
          <ac:cxnSpMkLst>
            <pc:docMk/>
            <pc:sldMk cId="2846901679" sldId="256"/>
            <ac:cxnSpMk id="10" creationId="{13EFA7DF-2E74-6B37-435B-B8B810175C14}"/>
          </ac:cxnSpMkLst>
        </pc:cxnChg>
      </pc:sldChg>
      <pc:sldChg chg="delSp modSp mod">
        <pc:chgData name="Roberto Gallardo" userId="49a044883f185952" providerId="LiveId" clId="{25BE2D22-C10C-457D-82F3-1AE0124C2F97}" dt="2023-01-14T14:23:03.365" v="2293" actId="478"/>
        <pc:sldMkLst>
          <pc:docMk/>
          <pc:sldMk cId="3231157596" sldId="257"/>
        </pc:sldMkLst>
        <pc:spChg chg="mod">
          <ac:chgData name="Roberto Gallardo" userId="49a044883f185952" providerId="LiveId" clId="{25BE2D22-C10C-457D-82F3-1AE0124C2F97}" dt="2023-01-09T23:34:23.014" v="73" actId="20577"/>
          <ac:spMkLst>
            <pc:docMk/>
            <pc:sldMk cId="3231157596" sldId="257"/>
            <ac:spMk id="8" creationId="{40AF43CC-DD34-B66D-2100-C70E6AB3ED53}"/>
          </ac:spMkLst>
        </pc:spChg>
        <pc:picChg chg="del ord">
          <ac:chgData name="Roberto Gallardo" userId="49a044883f185952" providerId="LiveId" clId="{25BE2D22-C10C-457D-82F3-1AE0124C2F97}" dt="2023-01-14T14:23:03.365" v="2293" actId="478"/>
          <ac:picMkLst>
            <pc:docMk/>
            <pc:sldMk cId="3231157596" sldId="257"/>
            <ac:picMk id="9" creationId="{4C80B7C1-B3BA-2E43-C7BF-799C557FB131}"/>
          </ac:picMkLst>
        </pc:picChg>
      </pc:sldChg>
      <pc:sldChg chg="delSp modSp mod">
        <pc:chgData name="Roberto Gallardo" userId="49a044883f185952" providerId="LiveId" clId="{25BE2D22-C10C-457D-82F3-1AE0124C2F97}" dt="2023-01-14T14:22:57.933" v="2291" actId="478"/>
        <pc:sldMkLst>
          <pc:docMk/>
          <pc:sldMk cId="3702837515" sldId="258"/>
        </pc:sldMkLst>
        <pc:spChg chg="mod">
          <ac:chgData name="Roberto Gallardo" userId="49a044883f185952" providerId="LiveId" clId="{25BE2D22-C10C-457D-82F3-1AE0124C2F97}" dt="2023-01-09T23:34:30.617" v="77" actId="20577"/>
          <ac:spMkLst>
            <pc:docMk/>
            <pc:sldMk cId="3702837515" sldId="258"/>
            <ac:spMk id="8" creationId="{40AF43CC-DD34-B66D-2100-C70E6AB3ED53}"/>
          </ac:spMkLst>
        </pc:spChg>
        <pc:picChg chg="del ord">
          <ac:chgData name="Roberto Gallardo" userId="49a044883f185952" providerId="LiveId" clId="{25BE2D22-C10C-457D-82F3-1AE0124C2F97}" dt="2023-01-14T14:22:57.933" v="2291" actId="478"/>
          <ac:picMkLst>
            <pc:docMk/>
            <pc:sldMk cId="3702837515" sldId="258"/>
            <ac:picMk id="7" creationId="{3635A42C-C9F1-DAA3-7FE7-1EB8257A0E2E}"/>
          </ac:picMkLst>
        </pc:picChg>
      </pc:sldChg>
      <pc:sldChg chg="delSp modSp mod">
        <pc:chgData name="Roberto Gallardo" userId="49a044883f185952" providerId="LiveId" clId="{25BE2D22-C10C-457D-82F3-1AE0124C2F97}" dt="2023-01-14T14:23:01.181" v="2292" actId="478"/>
        <pc:sldMkLst>
          <pc:docMk/>
          <pc:sldMk cId="2519083202" sldId="259"/>
        </pc:sldMkLst>
        <pc:spChg chg="mod">
          <ac:chgData name="Roberto Gallardo" userId="49a044883f185952" providerId="LiveId" clId="{25BE2D22-C10C-457D-82F3-1AE0124C2F97}" dt="2023-01-09T23:34:27.118" v="75" actId="20577"/>
          <ac:spMkLst>
            <pc:docMk/>
            <pc:sldMk cId="2519083202" sldId="259"/>
            <ac:spMk id="8" creationId="{40AF43CC-DD34-B66D-2100-C70E6AB3ED53}"/>
          </ac:spMkLst>
        </pc:spChg>
        <pc:picChg chg="del ord">
          <ac:chgData name="Roberto Gallardo" userId="49a044883f185952" providerId="LiveId" clId="{25BE2D22-C10C-457D-82F3-1AE0124C2F97}" dt="2023-01-14T14:23:01.181" v="2292" actId="478"/>
          <ac:picMkLst>
            <pc:docMk/>
            <pc:sldMk cId="2519083202" sldId="259"/>
            <ac:picMk id="7" creationId="{67FD3867-05D1-0561-5CAF-29C1272358C1}"/>
          </ac:picMkLst>
        </pc:picChg>
      </pc:sldChg>
      <pc:sldChg chg="delSp modSp mod">
        <pc:chgData name="Roberto Gallardo" userId="49a044883f185952" providerId="LiveId" clId="{25BE2D22-C10C-457D-82F3-1AE0124C2F97}" dt="2023-01-14T14:22:55.473" v="2290" actId="478"/>
        <pc:sldMkLst>
          <pc:docMk/>
          <pc:sldMk cId="3877078759" sldId="260"/>
        </pc:sldMkLst>
        <pc:spChg chg="mod">
          <ac:chgData name="Roberto Gallardo" userId="49a044883f185952" providerId="LiveId" clId="{25BE2D22-C10C-457D-82F3-1AE0124C2F97}" dt="2023-01-09T23:25:34.553" v="38" actId="20577"/>
          <ac:spMkLst>
            <pc:docMk/>
            <pc:sldMk cId="3877078759" sldId="260"/>
            <ac:spMk id="2" creationId="{C03B1400-5F72-D252-1DBE-EDCD6E63B07C}"/>
          </ac:spMkLst>
        </pc:spChg>
        <pc:picChg chg="del">
          <ac:chgData name="Roberto Gallardo" userId="49a044883f185952" providerId="LiveId" clId="{25BE2D22-C10C-457D-82F3-1AE0124C2F97}" dt="2023-01-14T14:22:55.473" v="2290" actId="478"/>
          <ac:picMkLst>
            <pc:docMk/>
            <pc:sldMk cId="3877078759" sldId="260"/>
            <ac:picMk id="6" creationId="{7454CA65-C29D-E836-52C1-21A108BA680B}"/>
          </ac:picMkLst>
        </pc:picChg>
      </pc:sldChg>
      <pc:sldChg chg="delSp modSp mod">
        <pc:chgData name="Roberto Gallardo" userId="49a044883f185952" providerId="LiveId" clId="{25BE2D22-C10C-457D-82F3-1AE0124C2F97}" dt="2023-01-14T14:23:07.821" v="2295" actId="478"/>
        <pc:sldMkLst>
          <pc:docMk/>
          <pc:sldMk cId="1175010214" sldId="261"/>
        </pc:sldMkLst>
        <pc:spChg chg="mod">
          <ac:chgData name="Roberto Gallardo" userId="49a044883f185952" providerId="LiveId" clId="{25BE2D22-C10C-457D-82F3-1AE0124C2F97}" dt="2023-01-09T23:46:19.915" v="107" actId="20577"/>
          <ac:spMkLst>
            <pc:docMk/>
            <pc:sldMk cId="1175010214" sldId="261"/>
            <ac:spMk id="2" creationId="{C03B1400-5F72-D252-1DBE-EDCD6E63B07C}"/>
          </ac:spMkLst>
        </pc:spChg>
        <pc:spChg chg="mod">
          <ac:chgData name="Roberto Gallardo" userId="49a044883f185952" providerId="LiveId" clId="{25BE2D22-C10C-457D-82F3-1AE0124C2F97}" dt="2023-01-09T23:40:39.389" v="92" actId="20577"/>
          <ac:spMkLst>
            <pc:docMk/>
            <pc:sldMk cId="1175010214" sldId="261"/>
            <ac:spMk id="8" creationId="{40AF43CC-DD34-B66D-2100-C70E6AB3ED53}"/>
          </ac:spMkLst>
        </pc:spChg>
        <pc:picChg chg="del ord">
          <ac:chgData name="Roberto Gallardo" userId="49a044883f185952" providerId="LiveId" clId="{25BE2D22-C10C-457D-82F3-1AE0124C2F97}" dt="2023-01-14T14:23:07.821" v="2295" actId="478"/>
          <ac:picMkLst>
            <pc:docMk/>
            <pc:sldMk cId="1175010214" sldId="261"/>
            <ac:picMk id="7" creationId="{A7EE6CAD-9CCE-2BE9-847E-C3EEA2C6DFDF}"/>
          </ac:picMkLst>
        </pc:picChg>
      </pc:sldChg>
      <pc:sldChg chg="modSp del mod">
        <pc:chgData name="Roberto Gallardo" userId="49a044883f185952" providerId="LiveId" clId="{25BE2D22-C10C-457D-82F3-1AE0124C2F97}" dt="2023-01-11T22:36:58.987" v="625" actId="47"/>
        <pc:sldMkLst>
          <pc:docMk/>
          <pc:sldMk cId="3490389620" sldId="262"/>
        </pc:sldMkLst>
        <pc:spChg chg="mod">
          <ac:chgData name="Roberto Gallardo" userId="49a044883f185952" providerId="LiveId" clId="{25BE2D22-C10C-457D-82F3-1AE0124C2F97}" dt="2023-01-11T22:31:30.539" v="591" actId="20577"/>
          <ac:spMkLst>
            <pc:docMk/>
            <pc:sldMk cId="3490389620" sldId="262"/>
            <ac:spMk id="8" creationId="{40AF43CC-DD34-B66D-2100-C70E6AB3ED53}"/>
          </ac:spMkLst>
        </pc:spChg>
        <pc:picChg chg="ord">
          <ac:chgData name="Roberto Gallardo" userId="49a044883f185952" providerId="LiveId" clId="{25BE2D22-C10C-457D-82F3-1AE0124C2F97}" dt="2023-01-10T00:16:15.998" v="362" actId="167"/>
          <ac:picMkLst>
            <pc:docMk/>
            <pc:sldMk cId="3490389620" sldId="262"/>
            <ac:picMk id="9" creationId="{40A36035-9B52-D1D4-A560-EC18D0BAF6E7}"/>
          </ac:picMkLst>
        </pc:picChg>
      </pc:sldChg>
      <pc:sldChg chg="del">
        <pc:chgData name="Roberto Gallardo" userId="49a044883f185952" providerId="LiveId" clId="{25BE2D22-C10C-457D-82F3-1AE0124C2F97}" dt="2023-01-11T22:41:00.154" v="649" actId="47"/>
        <pc:sldMkLst>
          <pc:docMk/>
          <pc:sldMk cId="77472702" sldId="263"/>
        </pc:sldMkLst>
      </pc:sldChg>
      <pc:sldChg chg="del">
        <pc:chgData name="Roberto Gallardo" userId="49a044883f185952" providerId="LiveId" clId="{25BE2D22-C10C-457D-82F3-1AE0124C2F97}" dt="2023-01-11T22:42:24.347" v="763" actId="47"/>
        <pc:sldMkLst>
          <pc:docMk/>
          <pc:sldMk cId="1409358877" sldId="264"/>
        </pc:sldMkLst>
      </pc:sldChg>
      <pc:sldChg chg="modSp del mod">
        <pc:chgData name="Roberto Gallardo" userId="49a044883f185952" providerId="LiveId" clId="{25BE2D22-C10C-457D-82F3-1AE0124C2F97}" dt="2023-01-11T22:45:01.449" v="809" actId="47"/>
        <pc:sldMkLst>
          <pc:docMk/>
          <pc:sldMk cId="2546441270" sldId="265"/>
        </pc:sldMkLst>
        <pc:spChg chg="mod">
          <ac:chgData name="Roberto Gallardo" userId="49a044883f185952" providerId="LiveId" clId="{25BE2D22-C10C-457D-82F3-1AE0124C2F97}" dt="2023-01-10T00:16:09.105" v="361" actId="14100"/>
          <ac:spMkLst>
            <pc:docMk/>
            <pc:sldMk cId="2546441270" sldId="265"/>
            <ac:spMk id="2" creationId="{C03B1400-5F72-D252-1DBE-EDCD6E63B07C}"/>
          </ac:spMkLst>
        </pc:spChg>
        <pc:picChg chg="ord">
          <ac:chgData name="Roberto Gallardo" userId="49a044883f185952" providerId="LiveId" clId="{25BE2D22-C10C-457D-82F3-1AE0124C2F97}" dt="2023-01-10T00:15:43.899" v="332" actId="167"/>
          <ac:picMkLst>
            <pc:docMk/>
            <pc:sldMk cId="2546441270" sldId="265"/>
            <ac:picMk id="9" creationId="{47CC0AA5-019F-7850-820E-5AEDCC3CAAD7}"/>
          </ac:picMkLst>
        </pc:picChg>
      </pc:sldChg>
      <pc:sldChg chg="del">
        <pc:chgData name="Roberto Gallardo" userId="49a044883f185952" providerId="LiveId" clId="{25BE2D22-C10C-457D-82F3-1AE0124C2F97}" dt="2023-01-11T22:45:38.028" v="848" actId="47"/>
        <pc:sldMkLst>
          <pc:docMk/>
          <pc:sldMk cId="3919704792" sldId="266"/>
        </pc:sldMkLst>
      </pc:sldChg>
      <pc:sldChg chg="del">
        <pc:chgData name="Roberto Gallardo" userId="49a044883f185952" providerId="LiveId" clId="{25BE2D22-C10C-457D-82F3-1AE0124C2F97}" dt="2023-01-11T22:46:45.097" v="929" actId="47"/>
        <pc:sldMkLst>
          <pc:docMk/>
          <pc:sldMk cId="4158874625" sldId="267"/>
        </pc:sldMkLst>
      </pc:sldChg>
      <pc:sldChg chg="del">
        <pc:chgData name="Roberto Gallardo" userId="49a044883f185952" providerId="LiveId" clId="{25BE2D22-C10C-457D-82F3-1AE0124C2F97}" dt="2023-01-11T22:47:18.989" v="978" actId="47"/>
        <pc:sldMkLst>
          <pc:docMk/>
          <pc:sldMk cId="2670791091" sldId="268"/>
        </pc:sldMkLst>
      </pc:sldChg>
      <pc:sldChg chg="del">
        <pc:chgData name="Roberto Gallardo" userId="49a044883f185952" providerId="LiveId" clId="{25BE2D22-C10C-457D-82F3-1AE0124C2F97}" dt="2023-01-11T22:56:38.855" v="1009" actId="47"/>
        <pc:sldMkLst>
          <pc:docMk/>
          <pc:sldMk cId="3618545072" sldId="269"/>
        </pc:sldMkLst>
      </pc:sldChg>
      <pc:sldChg chg="del">
        <pc:chgData name="Roberto Gallardo" userId="49a044883f185952" providerId="LiveId" clId="{25BE2D22-C10C-457D-82F3-1AE0124C2F97}" dt="2023-01-11T22:56:40.918" v="1010" actId="47"/>
        <pc:sldMkLst>
          <pc:docMk/>
          <pc:sldMk cId="436430764" sldId="270"/>
        </pc:sldMkLst>
      </pc:sldChg>
      <pc:sldChg chg="addSp delSp modSp mod">
        <pc:chgData name="Roberto Gallardo" userId="49a044883f185952" providerId="LiveId" clId="{25BE2D22-C10C-457D-82F3-1AE0124C2F97}" dt="2023-01-14T14:23:19.200" v="2296" actId="478"/>
        <pc:sldMkLst>
          <pc:docMk/>
          <pc:sldMk cId="1418533539" sldId="271"/>
        </pc:sldMkLst>
        <pc:spChg chg="mod">
          <ac:chgData name="Roberto Gallardo" userId="49a044883f185952" providerId="LiveId" clId="{25BE2D22-C10C-457D-82F3-1AE0124C2F97}" dt="2023-01-13T02:22:47.215" v="1659" actId="122"/>
          <ac:spMkLst>
            <pc:docMk/>
            <pc:sldMk cId="1418533539" sldId="271"/>
            <ac:spMk id="2" creationId="{C03B1400-5F72-D252-1DBE-EDCD6E63B07C}"/>
          </ac:spMkLst>
        </pc:spChg>
        <pc:spChg chg="add mod">
          <ac:chgData name="Roberto Gallardo" userId="49a044883f185952" providerId="LiveId" clId="{25BE2D22-C10C-457D-82F3-1AE0124C2F97}" dt="2023-01-13T02:25:04.952" v="1698" actId="1076"/>
          <ac:spMkLst>
            <pc:docMk/>
            <pc:sldMk cId="1418533539" sldId="271"/>
            <ac:spMk id="3" creationId="{AF651823-818E-912D-E331-CDEB914505A8}"/>
          </ac:spMkLst>
        </pc:spChg>
        <pc:spChg chg="del mod">
          <ac:chgData name="Roberto Gallardo" userId="49a044883f185952" providerId="LiveId" clId="{25BE2D22-C10C-457D-82F3-1AE0124C2F97}" dt="2023-01-11T22:32:35.186" v="600" actId="478"/>
          <ac:spMkLst>
            <pc:docMk/>
            <pc:sldMk cId="1418533539" sldId="271"/>
            <ac:spMk id="8" creationId="{40AF43CC-DD34-B66D-2100-C70E6AB3ED53}"/>
          </ac:spMkLst>
        </pc:spChg>
        <pc:graphicFrameChg chg="add del mod">
          <ac:chgData name="Roberto Gallardo" userId="49a044883f185952" providerId="LiveId" clId="{25BE2D22-C10C-457D-82F3-1AE0124C2F97}" dt="2023-01-13T02:21:01.017" v="1645" actId="478"/>
          <ac:graphicFrameMkLst>
            <pc:docMk/>
            <pc:sldMk cId="1418533539" sldId="271"/>
            <ac:graphicFrameMk id="6" creationId="{CE45C3AF-C253-DC6A-54C2-FE3F8F710345}"/>
          </ac:graphicFrameMkLst>
        </pc:graphicFrameChg>
        <pc:graphicFrameChg chg="add del mod">
          <ac:chgData name="Roberto Gallardo" userId="49a044883f185952" providerId="LiveId" clId="{25BE2D22-C10C-457D-82F3-1AE0124C2F97}" dt="2023-01-10T00:23:25.192" v="479" actId="478"/>
          <ac:graphicFrameMkLst>
            <pc:docMk/>
            <pc:sldMk cId="1418533539" sldId="271"/>
            <ac:graphicFrameMk id="12" creationId="{DABF0741-AD27-F6EC-F006-1930AC38E762}"/>
          </ac:graphicFrameMkLst>
        </pc:graphicFrameChg>
        <pc:picChg chg="add del mod">
          <ac:chgData name="Roberto Gallardo" userId="49a044883f185952" providerId="LiveId" clId="{25BE2D22-C10C-457D-82F3-1AE0124C2F97}" dt="2023-01-13T00:36:42.253" v="1503" actId="478"/>
          <ac:picMkLst>
            <pc:docMk/>
            <pc:sldMk cId="1418533539" sldId="271"/>
            <ac:picMk id="7" creationId="{612696AC-75A4-8645-153D-6EE56FC1207A}"/>
          </ac:picMkLst>
        </pc:picChg>
        <pc:picChg chg="add del mod">
          <ac:chgData name="Roberto Gallardo" userId="49a044883f185952" providerId="LiveId" clId="{25BE2D22-C10C-457D-82F3-1AE0124C2F97}" dt="2023-01-13T02:21:03.920" v="1646" actId="478"/>
          <ac:picMkLst>
            <pc:docMk/>
            <pc:sldMk cId="1418533539" sldId="271"/>
            <ac:picMk id="8" creationId="{EBF08018-13C5-6C09-EDA1-F15EE5AE8D0D}"/>
          </ac:picMkLst>
        </pc:picChg>
        <pc:picChg chg="add del mod">
          <ac:chgData name="Roberto Gallardo" userId="49a044883f185952" providerId="LiveId" clId="{25BE2D22-C10C-457D-82F3-1AE0124C2F97}" dt="2023-01-11T22:36:17.588" v="616" actId="478"/>
          <ac:picMkLst>
            <pc:docMk/>
            <pc:sldMk cId="1418533539" sldId="271"/>
            <ac:picMk id="9" creationId="{03E7E678-7ACC-337D-5E39-82A936AE17EF}"/>
          </ac:picMkLst>
        </pc:picChg>
        <pc:picChg chg="add mod">
          <ac:chgData name="Roberto Gallardo" userId="49a044883f185952" providerId="LiveId" clId="{25BE2D22-C10C-457D-82F3-1AE0124C2F97}" dt="2023-01-13T02:22:28.780" v="1653" actId="1076"/>
          <ac:picMkLst>
            <pc:docMk/>
            <pc:sldMk cId="1418533539" sldId="271"/>
            <ac:picMk id="10" creationId="{1B762686-DC65-9B90-CF68-660E6B2284BC}"/>
          </ac:picMkLst>
        </pc:picChg>
        <pc:picChg chg="add del">
          <ac:chgData name="Roberto Gallardo" userId="49a044883f185952" providerId="LiveId" clId="{25BE2D22-C10C-457D-82F3-1AE0124C2F97}" dt="2023-01-10T00:08:52.675" v="284" actId="478"/>
          <ac:picMkLst>
            <pc:docMk/>
            <pc:sldMk cId="1418533539" sldId="271"/>
            <ac:picMk id="11" creationId="{AEFDEB6D-F3A3-1572-E046-90ABC9E2817B}"/>
          </ac:picMkLst>
        </pc:picChg>
        <pc:picChg chg="del ord">
          <ac:chgData name="Roberto Gallardo" userId="49a044883f185952" providerId="LiveId" clId="{25BE2D22-C10C-457D-82F3-1AE0124C2F97}" dt="2023-01-14T14:23:19.200" v="2296" actId="478"/>
          <ac:picMkLst>
            <pc:docMk/>
            <pc:sldMk cId="1418533539" sldId="271"/>
            <ac:picMk id="13" creationId="{4F7357C3-AA47-A578-E18E-C38D0920BC2B}"/>
          </ac:picMkLst>
        </pc:picChg>
      </pc:sldChg>
      <pc:sldChg chg="delSp modSp mod">
        <pc:chgData name="Roberto Gallardo" userId="49a044883f185952" providerId="LiveId" clId="{25BE2D22-C10C-457D-82F3-1AE0124C2F97}" dt="2023-01-14T14:23:05.408" v="2294" actId="478"/>
        <pc:sldMkLst>
          <pc:docMk/>
          <pc:sldMk cId="2653937722" sldId="272"/>
        </pc:sldMkLst>
        <pc:spChg chg="mod">
          <ac:chgData name="Roberto Gallardo" userId="49a044883f185952" providerId="LiveId" clId="{25BE2D22-C10C-457D-82F3-1AE0124C2F97}" dt="2023-01-09T23:34:56.097" v="82" actId="20577"/>
          <ac:spMkLst>
            <pc:docMk/>
            <pc:sldMk cId="2653937722" sldId="272"/>
            <ac:spMk id="8" creationId="{40AF43CC-DD34-B66D-2100-C70E6AB3ED53}"/>
          </ac:spMkLst>
        </pc:spChg>
        <pc:picChg chg="del ord">
          <ac:chgData name="Roberto Gallardo" userId="49a044883f185952" providerId="LiveId" clId="{25BE2D22-C10C-457D-82F3-1AE0124C2F97}" dt="2023-01-14T14:23:05.408" v="2294" actId="478"/>
          <ac:picMkLst>
            <pc:docMk/>
            <pc:sldMk cId="2653937722" sldId="272"/>
            <ac:picMk id="7" creationId="{47B0A1AD-C83F-A2F8-D8C7-ED6D53AA4B2F}"/>
          </ac:picMkLst>
        </pc:picChg>
      </pc:sldChg>
      <pc:sldChg chg="delSp modSp mod">
        <pc:chgData name="Roberto Gallardo" userId="49a044883f185952" providerId="LiveId" clId="{25BE2D22-C10C-457D-82F3-1AE0124C2F97}" dt="2023-01-14T14:25:19.215" v="2321" actId="478"/>
        <pc:sldMkLst>
          <pc:docMk/>
          <pc:sldMk cId="2076698419" sldId="273"/>
        </pc:sldMkLst>
        <pc:picChg chg="del ord">
          <ac:chgData name="Roberto Gallardo" userId="49a044883f185952" providerId="LiveId" clId="{25BE2D22-C10C-457D-82F3-1AE0124C2F97}" dt="2023-01-14T14:25:19.215" v="2321" actId="478"/>
          <ac:picMkLst>
            <pc:docMk/>
            <pc:sldMk cId="2076698419" sldId="273"/>
            <ac:picMk id="9" creationId="{FFA57C8B-4C3E-6D4F-82A8-EE27683795FD}"/>
          </ac:picMkLst>
        </pc:picChg>
      </pc:sldChg>
      <pc:sldChg chg="delSp modSp mod">
        <pc:chgData name="Roberto Gallardo" userId="49a044883f185952" providerId="LiveId" clId="{25BE2D22-C10C-457D-82F3-1AE0124C2F97}" dt="2023-01-14T14:25:26.106" v="2323" actId="478"/>
        <pc:sldMkLst>
          <pc:docMk/>
          <pc:sldMk cId="3802335161" sldId="274"/>
        </pc:sldMkLst>
        <pc:spChg chg="mod">
          <ac:chgData name="Roberto Gallardo" userId="49a044883f185952" providerId="LiveId" clId="{25BE2D22-C10C-457D-82F3-1AE0124C2F97}" dt="2023-01-09T23:59:49.464" v="236" actId="1076"/>
          <ac:spMkLst>
            <pc:docMk/>
            <pc:sldMk cId="3802335161" sldId="274"/>
            <ac:spMk id="7" creationId="{06088BFF-E008-7036-06DC-C79AACE6A6EF}"/>
          </ac:spMkLst>
        </pc:spChg>
        <pc:spChg chg="mod">
          <ac:chgData name="Roberto Gallardo" userId="49a044883f185952" providerId="LiveId" clId="{25BE2D22-C10C-457D-82F3-1AE0124C2F97}" dt="2023-01-09T23:59:45.624" v="235" actId="1076"/>
          <ac:spMkLst>
            <pc:docMk/>
            <pc:sldMk cId="3802335161" sldId="274"/>
            <ac:spMk id="8" creationId="{40AF43CC-DD34-B66D-2100-C70E6AB3ED53}"/>
          </ac:spMkLst>
        </pc:spChg>
        <pc:picChg chg="del ord">
          <ac:chgData name="Roberto Gallardo" userId="49a044883f185952" providerId="LiveId" clId="{25BE2D22-C10C-457D-82F3-1AE0124C2F97}" dt="2023-01-14T14:25:26.106" v="2323" actId="478"/>
          <ac:picMkLst>
            <pc:docMk/>
            <pc:sldMk cId="3802335161" sldId="274"/>
            <ac:picMk id="11" creationId="{20764531-2D44-8514-A242-BA2A93780D69}"/>
          </ac:picMkLst>
        </pc:picChg>
      </pc:sldChg>
      <pc:sldChg chg="delSp modSp mod">
        <pc:chgData name="Roberto Gallardo" userId="49a044883f185952" providerId="LiveId" clId="{25BE2D22-C10C-457D-82F3-1AE0124C2F97}" dt="2023-01-14T14:25:28.668" v="2324" actId="478"/>
        <pc:sldMkLst>
          <pc:docMk/>
          <pc:sldMk cId="4292554322" sldId="275"/>
        </pc:sldMkLst>
        <pc:spChg chg="mod">
          <ac:chgData name="Roberto Gallardo" userId="49a044883f185952" providerId="LiveId" clId="{25BE2D22-C10C-457D-82F3-1AE0124C2F97}" dt="2023-01-10T00:08:19.825" v="283" actId="20577"/>
          <ac:spMkLst>
            <pc:docMk/>
            <pc:sldMk cId="4292554322" sldId="275"/>
            <ac:spMk id="8" creationId="{40AF43CC-DD34-B66D-2100-C70E6AB3ED53}"/>
          </ac:spMkLst>
        </pc:spChg>
        <pc:picChg chg="del ord">
          <ac:chgData name="Roberto Gallardo" userId="49a044883f185952" providerId="LiveId" clId="{25BE2D22-C10C-457D-82F3-1AE0124C2F97}" dt="2023-01-14T14:25:28.668" v="2324" actId="478"/>
          <ac:picMkLst>
            <pc:docMk/>
            <pc:sldMk cId="4292554322" sldId="275"/>
            <ac:picMk id="7" creationId="{D63D57C2-CBCB-D955-3A69-AFA7B03E637F}"/>
          </ac:picMkLst>
        </pc:picChg>
      </pc:sldChg>
      <pc:sldChg chg="delSp modSp mod">
        <pc:chgData name="Roberto Gallardo" userId="49a044883f185952" providerId="LiveId" clId="{25BE2D22-C10C-457D-82F3-1AE0124C2F97}" dt="2023-01-14T14:25:21.892" v="2322" actId="478"/>
        <pc:sldMkLst>
          <pc:docMk/>
          <pc:sldMk cId="513409896" sldId="276"/>
        </pc:sldMkLst>
        <pc:spChg chg="mod">
          <ac:chgData name="Roberto Gallardo" userId="49a044883f185952" providerId="LiveId" clId="{25BE2D22-C10C-457D-82F3-1AE0124C2F97}" dt="2023-01-09T23:52:38.282" v="129" actId="20577"/>
          <ac:spMkLst>
            <pc:docMk/>
            <pc:sldMk cId="513409896" sldId="276"/>
            <ac:spMk id="2" creationId="{C03B1400-5F72-D252-1DBE-EDCD6E63B07C}"/>
          </ac:spMkLst>
        </pc:spChg>
        <pc:spChg chg="mod">
          <ac:chgData name="Roberto Gallardo" userId="49a044883f185952" providerId="LiveId" clId="{25BE2D22-C10C-457D-82F3-1AE0124C2F97}" dt="2023-01-09T23:55:59.892" v="141" actId="1076"/>
          <ac:spMkLst>
            <pc:docMk/>
            <pc:sldMk cId="513409896" sldId="276"/>
            <ac:spMk id="9" creationId="{EB4CC4F6-2F6B-8AF9-8151-CB2C0FF4BAC4}"/>
          </ac:spMkLst>
        </pc:spChg>
        <pc:spChg chg="mod">
          <ac:chgData name="Roberto Gallardo" userId="49a044883f185952" providerId="LiveId" clId="{25BE2D22-C10C-457D-82F3-1AE0124C2F97}" dt="2023-01-09T23:57:39.847" v="171" actId="1037"/>
          <ac:spMkLst>
            <pc:docMk/>
            <pc:sldMk cId="513409896" sldId="276"/>
            <ac:spMk id="16" creationId="{420A225E-A640-906C-A470-552759842A43}"/>
          </ac:spMkLst>
        </pc:spChg>
        <pc:spChg chg="mod">
          <ac:chgData name="Roberto Gallardo" userId="49a044883f185952" providerId="LiveId" clId="{25BE2D22-C10C-457D-82F3-1AE0124C2F97}" dt="2023-01-09T23:58:38.609" v="187" actId="1038"/>
          <ac:spMkLst>
            <pc:docMk/>
            <pc:sldMk cId="513409896" sldId="276"/>
            <ac:spMk id="21" creationId="{9A68ADBE-AECC-EE60-7E94-3675B33E08AE}"/>
          </ac:spMkLst>
        </pc:spChg>
        <pc:picChg chg="del ord">
          <ac:chgData name="Roberto Gallardo" userId="49a044883f185952" providerId="LiveId" clId="{25BE2D22-C10C-457D-82F3-1AE0124C2F97}" dt="2023-01-14T14:25:21.892" v="2322" actId="478"/>
          <ac:picMkLst>
            <pc:docMk/>
            <pc:sldMk cId="513409896" sldId="276"/>
            <ac:picMk id="28" creationId="{7ABD12D9-88D7-6FDA-AEAC-080C6614109E}"/>
          </ac:picMkLst>
        </pc:picChg>
        <pc:cxnChg chg="mod">
          <ac:chgData name="Roberto Gallardo" userId="49a044883f185952" providerId="LiveId" clId="{25BE2D22-C10C-457D-82F3-1AE0124C2F97}" dt="2023-01-09T23:55:39.172" v="135" actId="1076"/>
          <ac:cxnSpMkLst>
            <pc:docMk/>
            <pc:sldMk cId="513409896" sldId="276"/>
            <ac:cxnSpMk id="12" creationId="{CFFB1630-BD90-A400-670C-BA42A969CC53}"/>
          </ac:cxnSpMkLst>
        </pc:cxnChg>
        <pc:cxnChg chg="mod">
          <ac:chgData name="Roberto Gallardo" userId="49a044883f185952" providerId="LiveId" clId="{25BE2D22-C10C-457D-82F3-1AE0124C2F97}" dt="2023-01-09T23:56:07.141" v="143" actId="1076"/>
          <ac:cxnSpMkLst>
            <pc:docMk/>
            <pc:sldMk cId="513409896" sldId="276"/>
            <ac:cxnSpMk id="13" creationId="{1D0B6E64-E4A0-FEB0-ABC4-B26C8EF7542E}"/>
          </ac:cxnSpMkLst>
        </pc:cxnChg>
        <pc:cxnChg chg="mod">
          <ac:chgData name="Roberto Gallardo" userId="49a044883f185952" providerId="LiveId" clId="{25BE2D22-C10C-457D-82F3-1AE0124C2F97}" dt="2023-01-09T23:56:03.557" v="142" actId="14100"/>
          <ac:cxnSpMkLst>
            <pc:docMk/>
            <pc:sldMk cId="513409896" sldId="276"/>
            <ac:cxnSpMk id="14" creationId="{15AB37BA-8065-3082-3040-FB8974BC0126}"/>
          </ac:cxnSpMkLst>
        </pc:cxnChg>
        <pc:cxnChg chg="mod">
          <ac:chgData name="Roberto Gallardo" userId="49a044883f185952" providerId="LiveId" clId="{25BE2D22-C10C-457D-82F3-1AE0124C2F97}" dt="2023-01-09T23:55:56.230" v="140" actId="14100"/>
          <ac:cxnSpMkLst>
            <pc:docMk/>
            <pc:sldMk cId="513409896" sldId="276"/>
            <ac:cxnSpMk id="15" creationId="{BCCCC111-CA7C-CAB0-EAC5-333D5A26296D}"/>
          </ac:cxnSpMkLst>
        </pc:cxnChg>
        <pc:cxnChg chg="mod">
          <ac:chgData name="Roberto Gallardo" userId="49a044883f185952" providerId="LiveId" clId="{25BE2D22-C10C-457D-82F3-1AE0124C2F97}" dt="2023-01-09T23:57:39.847" v="171" actId="1037"/>
          <ac:cxnSpMkLst>
            <pc:docMk/>
            <pc:sldMk cId="513409896" sldId="276"/>
            <ac:cxnSpMk id="17" creationId="{26BD209E-6819-82CB-9B59-E03611EAC1FC}"/>
          </ac:cxnSpMkLst>
        </pc:cxnChg>
        <pc:cxnChg chg="mod">
          <ac:chgData name="Roberto Gallardo" userId="49a044883f185952" providerId="LiveId" clId="{25BE2D22-C10C-457D-82F3-1AE0124C2F97}" dt="2023-01-09T23:57:39.847" v="171" actId="1037"/>
          <ac:cxnSpMkLst>
            <pc:docMk/>
            <pc:sldMk cId="513409896" sldId="276"/>
            <ac:cxnSpMk id="18" creationId="{F8736966-F272-CC1E-CA8B-886785B2B5EB}"/>
          </ac:cxnSpMkLst>
        </pc:cxnChg>
        <pc:cxnChg chg="mod">
          <ac:chgData name="Roberto Gallardo" userId="49a044883f185952" providerId="LiveId" clId="{25BE2D22-C10C-457D-82F3-1AE0124C2F97}" dt="2023-01-09T23:57:39.847" v="171" actId="1037"/>
          <ac:cxnSpMkLst>
            <pc:docMk/>
            <pc:sldMk cId="513409896" sldId="276"/>
            <ac:cxnSpMk id="19" creationId="{310587E0-05D3-43D7-B764-184E1AB6C561}"/>
          </ac:cxnSpMkLst>
        </pc:cxnChg>
        <pc:cxnChg chg="mod">
          <ac:chgData name="Roberto Gallardo" userId="49a044883f185952" providerId="LiveId" clId="{25BE2D22-C10C-457D-82F3-1AE0124C2F97}" dt="2023-01-09T23:57:39.847" v="171" actId="1037"/>
          <ac:cxnSpMkLst>
            <pc:docMk/>
            <pc:sldMk cId="513409896" sldId="276"/>
            <ac:cxnSpMk id="20" creationId="{4FC1B3BE-8F7B-FCC3-C3CB-625A8A3E620F}"/>
          </ac:cxnSpMkLst>
        </pc:cxnChg>
        <pc:cxnChg chg="mod">
          <ac:chgData name="Roberto Gallardo" userId="49a044883f185952" providerId="LiveId" clId="{25BE2D22-C10C-457D-82F3-1AE0124C2F97}" dt="2023-01-09T23:58:01.222" v="174" actId="1038"/>
          <ac:cxnSpMkLst>
            <pc:docMk/>
            <pc:sldMk cId="513409896" sldId="276"/>
            <ac:cxnSpMk id="22" creationId="{1B423FA0-E4B3-6570-929B-A9283D503787}"/>
          </ac:cxnSpMkLst>
        </pc:cxnChg>
        <pc:cxnChg chg="mod">
          <ac:chgData name="Roberto Gallardo" userId="49a044883f185952" providerId="LiveId" clId="{25BE2D22-C10C-457D-82F3-1AE0124C2F97}" dt="2023-01-09T23:58:42.914" v="188" actId="1038"/>
          <ac:cxnSpMkLst>
            <pc:docMk/>
            <pc:sldMk cId="513409896" sldId="276"/>
            <ac:cxnSpMk id="23" creationId="{D616797E-0044-3804-BA5A-23B8EB309CA5}"/>
          </ac:cxnSpMkLst>
        </pc:cxnChg>
        <pc:cxnChg chg="mod">
          <ac:chgData name="Roberto Gallardo" userId="49a044883f185952" providerId="LiveId" clId="{25BE2D22-C10C-457D-82F3-1AE0124C2F97}" dt="2023-01-09T23:58:42.914" v="188" actId="1038"/>
          <ac:cxnSpMkLst>
            <pc:docMk/>
            <pc:sldMk cId="513409896" sldId="276"/>
            <ac:cxnSpMk id="24" creationId="{20A6256E-6780-BAE0-B803-D02FE024579F}"/>
          </ac:cxnSpMkLst>
        </pc:cxnChg>
        <pc:cxnChg chg="mod">
          <ac:chgData name="Roberto Gallardo" userId="49a044883f185952" providerId="LiveId" clId="{25BE2D22-C10C-457D-82F3-1AE0124C2F97}" dt="2023-01-09T23:58:06.540" v="175" actId="1076"/>
          <ac:cxnSpMkLst>
            <pc:docMk/>
            <pc:sldMk cId="513409896" sldId="276"/>
            <ac:cxnSpMk id="25" creationId="{62B7492E-2C75-E0CD-947E-C582F412F7D7}"/>
          </ac:cxnSpMkLst>
        </pc:cxnChg>
      </pc:sldChg>
      <pc:sldChg chg="delSp modSp mod">
        <pc:chgData name="Roberto Gallardo" userId="49a044883f185952" providerId="LiveId" clId="{25BE2D22-C10C-457D-82F3-1AE0124C2F97}" dt="2023-01-14T14:22:53.178" v="2289" actId="478"/>
        <pc:sldMkLst>
          <pc:docMk/>
          <pc:sldMk cId="543148149" sldId="277"/>
        </pc:sldMkLst>
        <pc:spChg chg="mod">
          <ac:chgData name="Roberto Gallardo" userId="49a044883f185952" providerId="LiveId" clId="{25BE2D22-C10C-457D-82F3-1AE0124C2F97}" dt="2023-01-13T02:59:23.255" v="2194" actId="20577"/>
          <ac:spMkLst>
            <pc:docMk/>
            <pc:sldMk cId="543148149" sldId="277"/>
            <ac:spMk id="5" creationId="{6AE302AC-8931-4144-BE52-DD1A8BA82462}"/>
          </ac:spMkLst>
        </pc:spChg>
        <pc:spChg chg="mod">
          <ac:chgData name="Roberto Gallardo" userId="49a044883f185952" providerId="LiveId" clId="{25BE2D22-C10C-457D-82F3-1AE0124C2F97}" dt="2023-01-13T02:59:03.039" v="2185" actId="27636"/>
          <ac:spMkLst>
            <pc:docMk/>
            <pc:sldMk cId="543148149" sldId="277"/>
            <ac:spMk id="9" creationId="{E362A98F-7DCD-C67C-23CE-1BE182A133B4}"/>
          </ac:spMkLst>
        </pc:spChg>
        <pc:picChg chg="del">
          <ac:chgData name="Roberto Gallardo" userId="49a044883f185952" providerId="LiveId" clId="{25BE2D22-C10C-457D-82F3-1AE0124C2F97}" dt="2023-01-14T14:22:53.178" v="2289" actId="478"/>
          <ac:picMkLst>
            <pc:docMk/>
            <pc:sldMk cId="543148149" sldId="277"/>
            <ac:picMk id="15" creationId="{B191D37B-F1CD-5A9C-06B8-E0E4181E0306}"/>
          </ac:picMkLst>
        </pc:picChg>
      </pc:sldChg>
      <pc:sldChg chg="delSp modSp mod">
        <pc:chgData name="Roberto Gallardo" userId="49a044883f185952" providerId="LiveId" clId="{25BE2D22-C10C-457D-82F3-1AE0124C2F97}" dt="2023-01-14T14:25:16.874" v="2320" actId="478"/>
        <pc:sldMkLst>
          <pc:docMk/>
          <pc:sldMk cId="349244952" sldId="278"/>
        </pc:sldMkLst>
        <pc:picChg chg="del ord">
          <ac:chgData name="Roberto Gallardo" userId="49a044883f185952" providerId="LiveId" clId="{25BE2D22-C10C-457D-82F3-1AE0124C2F97}" dt="2023-01-14T14:25:16.874" v="2320" actId="478"/>
          <ac:picMkLst>
            <pc:docMk/>
            <pc:sldMk cId="349244952" sldId="278"/>
            <ac:picMk id="11" creationId="{DB0A9B91-BDA9-CBFA-5C74-903665FB0440}"/>
          </ac:picMkLst>
        </pc:picChg>
      </pc:sldChg>
      <pc:sldChg chg="modSp add del mod">
        <pc:chgData name="Roberto Gallardo" userId="49a044883f185952" providerId="LiveId" clId="{25BE2D22-C10C-457D-82F3-1AE0124C2F97}" dt="2023-01-11T22:42:06.562" v="738" actId="47"/>
        <pc:sldMkLst>
          <pc:docMk/>
          <pc:sldMk cId="2146153811" sldId="279"/>
        </pc:sldMkLst>
        <pc:spChg chg="mod">
          <ac:chgData name="Roberto Gallardo" userId="49a044883f185952" providerId="LiveId" clId="{25BE2D22-C10C-457D-82F3-1AE0124C2F97}" dt="2023-01-10T00:15:21.074" v="330" actId="20577"/>
          <ac:spMkLst>
            <pc:docMk/>
            <pc:sldMk cId="2146153811" sldId="279"/>
            <ac:spMk id="2" creationId="{C03B1400-5F72-D252-1DBE-EDCD6E63B07C}"/>
          </ac:spMkLst>
        </pc:spChg>
        <pc:picChg chg="ord">
          <ac:chgData name="Roberto Gallardo" userId="49a044883f185952" providerId="LiveId" clId="{25BE2D22-C10C-457D-82F3-1AE0124C2F97}" dt="2023-01-10T00:14:57.209" v="286" actId="167"/>
          <ac:picMkLst>
            <pc:docMk/>
            <pc:sldMk cId="2146153811" sldId="279"/>
            <ac:picMk id="10" creationId="{E3CBDF83-C9E0-8DEA-6624-BCD9FB8AFD58}"/>
          </ac:picMkLst>
        </pc:picChg>
      </pc:sldChg>
      <pc:sldChg chg="add del">
        <pc:chgData name="Roberto Gallardo" userId="49a044883f185952" providerId="LiveId" clId="{25BE2D22-C10C-457D-82F3-1AE0124C2F97}" dt="2023-01-11T22:45:17.639" v="819" actId="47"/>
        <pc:sldMkLst>
          <pc:docMk/>
          <pc:sldMk cId="3281010316" sldId="280"/>
        </pc:sldMkLst>
      </pc:sldChg>
      <pc:sldChg chg="addSp delSp modSp add mod">
        <pc:chgData name="Roberto Gallardo" userId="49a044883f185952" providerId="LiveId" clId="{25BE2D22-C10C-457D-82F3-1AE0124C2F97}" dt="2023-01-14T14:23:58.117" v="2302" actId="478"/>
        <pc:sldMkLst>
          <pc:docMk/>
          <pc:sldMk cId="2124848710" sldId="281"/>
        </pc:sldMkLst>
        <pc:spChg chg="mod">
          <ac:chgData name="Roberto Gallardo" userId="49a044883f185952" providerId="LiveId" clId="{25BE2D22-C10C-457D-82F3-1AE0124C2F97}" dt="2023-01-11T22:44:18.310" v="806" actId="20577"/>
          <ac:spMkLst>
            <pc:docMk/>
            <pc:sldMk cId="2124848710" sldId="281"/>
            <ac:spMk id="2" creationId="{C03B1400-5F72-D252-1DBE-EDCD6E63B07C}"/>
          </ac:spMkLst>
        </pc:spChg>
        <pc:spChg chg="add mod">
          <ac:chgData name="Roberto Gallardo" userId="49a044883f185952" providerId="LiveId" clId="{25BE2D22-C10C-457D-82F3-1AE0124C2F97}" dt="2023-01-11T22:32:27.568" v="598"/>
          <ac:spMkLst>
            <pc:docMk/>
            <pc:sldMk cId="2124848710" sldId="281"/>
            <ac:spMk id="7" creationId="{51811D46-3545-CBB8-9C35-BAFF095496AA}"/>
          </ac:spMkLst>
        </pc:spChg>
        <pc:spChg chg="del">
          <ac:chgData name="Roberto Gallardo" userId="49a044883f185952" providerId="LiveId" clId="{25BE2D22-C10C-457D-82F3-1AE0124C2F97}" dt="2023-01-11T22:32:27.185" v="597" actId="478"/>
          <ac:spMkLst>
            <pc:docMk/>
            <pc:sldMk cId="2124848710" sldId="281"/>
            <ac:spMk id="8" creationId="{40AF43CC-DD34-B66D-2100-C70E6AB3ED53}"/>
          </ac:spMkLst>
        </pc:spChg>
        <pc:picChg chg="add mod">
          <ac:chgData name="Roberto Gallardo" userId="49a044883f185952" providerId="LiveId" clId="{25BE2D22-C10C-457D-82F3-1AE0124C2F97}" dt="2023-01-13T00:39:20.371" v="1520" actId="1076"/>
          <ac:picMkLst>
            <pc:docMk/>
            <pc:sldMk cId="2124848710" sldId="281"/>
            <ac:picMk id="5" creationId="{2A59AE6B-1B9E-0347-0422-DB514C73822C}"/>
          </ac:picMkLst>
        </pc:picChg>
        <pc:picChg chg="add del mod">
          <ac:chgData name="Roberto Gallardo" userId="49a044883f185952" providerId="LiveId" clId="{25BE2D22-C10C-457D-82F3-1AE0124C2F97}" dt="2023-01-11T22:34:48.191" v="606" actId="478"/>
          <ac:picMkLst>
            <pc:docMk/>
            <pc:sldMk cId="2124848710" sldId="281"/>
            <ac:picMk id="5" creationId="{A3690EF6-1452-F2F3-BDD9-05004AEBC4D9}"/>
          </ac:picMkLst>
        </pc:picChg>
        <pc:picChg chg="del">
          <ac:chgData name="Roberto Gallardo" userId="49a044883f185952" providerId="LiveId" clId="{25BE2D22-C10C-457D-82F3-1AE0124C2F97}" dt="2023-01-10T00:37:00.095" v="567" actId="478"/>
          <ac:picMkLst>
            <pc:docMk/>
            <pc:sldMk cId="2124848710" sldId="281"/>
            <ac:picMk id="9" creationId="{03E7E678-7ACC-337D-5E39-82A936AE17EF}"/>
          </ac:picMkLst>
        </pc:picChg>
        <pc:picChg chg="add del mod">
          <ac:chgData name="Roberto Gallardo" userId="49a044883f185952" providerId="LiveId" clId="{25BE2D22-C10C-457D-82F3-1AE0124C2F97}" dt="2023-01-13T00:38:58.887" v="1513" actId="478"/>
          <ac:picMkLst>
            <pc:docMk/>
            <pc:sldMk cId="2124848710" sldId="281"/>
            <ac:picMk id="10" creationId="{C4A82F95-FBF6-C21F-2E20-237244FD5C6C}"/>
          </ac:picMkLst>
        </pc:picChg>
        <pc:picChg chg="del ord">
          <ac:chgData name="Roberto Gallardo" userId="49a044883f185952" providerId="LiveId" clId="{25BE2D22-C10C-457D-82F3-1AE0124C2F97}" dt="2023-01-14T14:23:58.117" v="2302" actId="478"/>
          <ac:picMkLst>
            <pc:docMk/>
            <pc:sldMk cId="2124848710" sldId="281"/>
            <ac:picMk id="13" creationId="{4F7357C3-AA47-A578-E18E-C38D0920BC2B}"/>
          </ac:picMkLst>
        </pc:picChg>
      </pc:sldChg>
      <pc:sldChg chg="addSp delSp modSp add mod">
        <pc:chgData name="Roberto Gallardo" userId="49a044883f185952" providerId="LiveId" clId="{25BE2D22-C10C-457D-82F3-1AE0124C2F97}" dt="2023-01-14T14:24:00.749" v="2303" actId="478"/>
        <pc:sldMkLst>
          <pc:docMk/>
          <pc:sldMk cId="2028175529" sldId="282"/>
        </pc:sldMkLst>
        <pc:spChg chg="mod">
          <ac:chgData name="Roberto Gallardo" userId="49a044883f185952" providerId="LiveId" clId="{25BE2D22-C10C-457D-82F3-1AE0124C2F97}" dt="2023-01-13T00:39:39.199" v="1523" actId="20577"/>
          <ac:spMkLst>
            <pc:docMk/>
            <pc:sldMk cId="2028175529" sldId="282"/>
            <ac:spMk id="2" creationId="{C03B1400-5F72-D252-1DBE-EDCD6E63B07C}"/>
          </ac:spMkLst>
        </pc:spChg>
        <pc:picChg chg="add del mod">
          <ac:chgData name="Roberto Gallardo" userId="49a044883f185952" providerId="LiveId" clId="{25BE2D22-C10C-457D-82F3-1AE0124C2F97}" dt="2023-01-13T00:40:50.708" v="1524" actId="478"/>
          <ac:picMkLst>
            <pc:docMk/>
            <pc:sldMk cId="2028175529" sldId="282"/>
            <ac:picMk id="5" creationId="{49F907CC-2FFC-9CA0-1E54-6281D4D3E038}"/>
          </ac:picMkLst>
        </pc:picChg>
        <pc:picChg chg="add mod">
          <ac:chgData name="Roberto Gallardo" userId="49a044883f185952" providerId="LiveId" clId="{25BE2D22-C10C-457D-82F3-1AE0124C2F97}" dt="2023-01-13T00:41:08.055" v="1531" actId="1076"/>
          <ac:picMkLst>
            <pc:docMk/>
            <pc:sldMk cId="2028175529" sldId="282"/>
            <ac:picMk id="8" creationId="{C96FB809-0226-5B71-8F0F-02E5A446EAFD}"/>
          </ac:picMkLst>
        </pc:picChg>
        <pc:picChg chg="del">
          <ac:chgData name="Roberto Gallardo" userId="49a044883f185952" providerId="LiveId" clId="{25BE2D22-C10C-457D-82F3-1AE0124C2F97}" dt="2023-01-11T22:37:12.135" v="628" actId="478"/>
          <ac:picMkLst>
            <pc:docMk/>
            <pc:sldMk cId="2028175529" sldId="282"/>
            <ac:picMk id="10" creationId="{C4A82F95-FBF6-C21F-2E20-237244FD5C6C}"/>
          </ac:picMkLst>
        </pc:picChg>
        <pc:picChg chg="del ord">
          <ac:chgData name="Roberto Gallardo" userId="49a044883f185952" providerId="LiveId" clId="{25BE2D22-C10C-457D-82F3-1AE0124C2F97}" dt="2023-01-14T14:24:00.749" v="2303" actId="478"/>
          <ac:picMkLst>
            <pc:docMk/>
            <pc:sldMk cId="2028175529" sldId="282"/>
            <ac:picMk id="13" creationId="{4F7357C3-AA47-A578-E18E-C38D0920BC2B}"/>
          </ac:picMkLst>
        </pc:picChg>
      </pc:sldChg>
      <pc:sldChg chg="addSp delSp modSp add mod">
        <pc:chgData name="Roberto Gallardo" userId="49a044883f185952" providerId="LiveId" clId="{25BE2D22-C10C-457D-82F3-1AE0124C2F97}" dt="2023-01-14T14:24:04.423" v="2304" actId="478"/>
        <pc:sldMkLst>
          <pc:docMk/>
          <pc:sldMk cId="1326517747" sldId="283"/>
        </pc:sldMkLst>
        <pc:spChg chg="mod">
          <ac:chgData name="Roberto Gallardo" userId="49a044883f185952" providerId="LiveId" clId="{25BE2D22-C10C-457D-82F3-1AE0124C2F97}" dt="2023-01-11T23:32:42.599" v="1059" actId="20577"/>
          <ac:spMkLst>
            <pc:docMk/>
            <pc:sldMk cId="1326517747" sldId="283"/>
            <ac:spMk id="2" creationId="{C03B1400-5F72-D252-1DBE-EDCD6E63B07C}"/>
          </ac:spMkLst>
        </pc:spChg>
        <pc:graphicFrameChg chg="mod">
          <ac:chgData name="Roberto Gallardo" userId="49a044883f185952" providerId="LiveId" clId="{25BE2D22-C10C-457D-82F3-1AE0124C2F97}" dt="2023-01-11T23:31:28.023" v="1047"/>
          <ac:graphicFrameMkLst>
            <pc:docMk/>
            <pc:sldMk cId="1326517747" sldId="283"/>
            <ac:graphicFrameMk id="6" creationId="{CE45C3AF-C253-DC6A-54C2-FE3F8F710345}"/>
          </ac:graphicFrameMkLst>
        </pc:graphicFrameChg>
        <pc:picChg chg="add del mod">
          <ac:chgData name="Roberto Gallardo" userId="49a044883f185952" providerId="LiveId" clId="{25BE2D22-C10C-457D-82F3-1AE0124C2F97}" dt="2023-01-13T20:31:19.863" v="2207" actId="478"/>
          <ac:picMkLst>
            <pc:docMk/>
            <pc:sldMk cId="1326517747" sldId="283"/>
            <ac:picMk id="5" creationId="{8E464B52-1F1A-1B68-E773-69ECB2BA3D91}"/>
          </ac:picMkLst>
        </pc:picChg>
        <pc:picChg chg="add mod">
          <ac:chgData name="Roberto Gallardo" userId="49a044883f185952" providerId="LiveId" clId="{25BE2D22-C10C-457D-82F3-1AE0124C2F97}" dt="2023-01-13T20:31:35.872" v="2214" actId="1076"/>
          <ac:picMkLst>
            <pc:docMk/>
            <pc:sldMk cId="1326517747" sldId="283"/>
            <ac:picMk id="8" creationId="{9C745558-7BBD-B834-609E-ED244F71DA92}"/>
          </ac:picMkLst>
        </pc:picChg>
        <pc:picChg chg="del ord">
          <ac:chgData name="Roberto Gallardo" userId="49a044883f185952" providerId="LiveId" clId="{25BE2D22-C10C-457D-82F3-1AE0124C2F97}" dt="2023-01-14T14:24:04.423" v="2304" actId="478"/>
          <ac:picMkLst>
            <pc:docMk/>
            <pc:sldMk cId="1326517747" sldId="283"/>
            <ac:picMk id="13" creationId="{4F7357C3-AA47-A578-E18E-C38D0920BC2B}"/>
          </ac:picMkLst>
        </pc:picChg>
      </pc:sldChg>
      <pc:sldChg chg="addSp delSp modSp add mod">
        <pc:chgData name="Roberto Gallardo" userId="49a044883f185952" providerId="LiveId" clId="{25BE2D22-C10C-457D-82F3-1AE0124C2F97}" dt="2023-01-14T14:24:09.165" v="2305" actId="478"/>
        <pc:sldMkLst>
          <pc:docMk/>
          <pc:sldMk cId="783739251" sldId="284"/>
        </pc:sldMkLst>
        <pc:spChg chg="mod">
          <ac:chgData name="Roberto Gallardo" userId="49a044883f185952" providerId="LiveId" clId="{25BE2D22-C10C-457D-82F3-1AE0124C2F97}" dt="2023-01-11T22:42:19.148" v="762" actId="20577"/>
          <ac:spMkLst>
            <pc:docMk/>
            <pc:sldMk cId="783739251" sldId="284"/>
            <ac:spMk id="2" creationId="{C03B1400-5F72-D252-1DBE-EDCD6E63B07C}"/>
          </ac:spMkLst>
        </pc:spChg>
        <pc:picChg chg="add del mod">
          <ac:chgData name="Roberto Gallardo" userId="49a044883f185952" providerId="LiveId" clId="{25BE2D22-C10C-457D-82F3-1AE0124C2F97}" dt="2023-01-13T20:32:53.569" v="2217" actId="478"/>
          <ac:picMkLst>
            <pc:docMk/>
            <pc:sldMk cId="783739251" sldId="284"/>
            <ac:picMk id="5" creationId="{7FC44A9F-60F0-EA6C-7DA5-36827CEDEE07}"/>
          </ac:picMkLst>
        </pc:picChg>
        <pc:picChg chg="add mod">
          <ac:chgData name="Roberto Gallardo" userId="49a044883f185952" providerId="LiveId" clId="{25BE2D22-C10C-457D-82F3-1AE0124C2F97}" dt="2023-01-13T20:33:09.708" v="2224" actId="1076"/>
          <ac:picMkLst>
            <pc:docMk/>
            <pc:sldMk cId="783739251" sldId="284"/>
            <ac:picMk id="8" creationId="{5EB75393-923B-5E8A-A45C-412BB00B7CE6}"/>
          </ac:picMkLst>
        </pc:picChg>
        <pc:picChg chg="del ord">
          <ac:chgData name="Roberto Gallardo" userId="49a044883f185952" providerId="LiveId" clId="{25BE2D22-C10C-457D-82F3-1AE0124C2F97}" dt="2023-01-14T14:24:09.165" v="2305" actId="478"/>
          <ac:picMkLst>
            <pc:docMk/>
            <pc:sldMk cId="783739251" sldId="284"/>
            <ac:picMk id="13" creationId="{4F7357C3-AA47-A578-E18E-C38D0920BC2B}"/>
          </ac:picMkLst>
        </pc:picChg>
      </pc:sldChg>
      <pc:sldChg chg="addSp delSp modSp add mod">
        <pc:chgData name="Roberto Gallardo" userId="49a044883f185952" providerId="LiveId" clId="{25BE2D22-C10C-457D-82F3-1AE0124C2F97}" dt="2023-01-14T14:24:12.553" v="2306" actId="478"/>
        <pc:sldMkLst>
          <pc:docMk/>
          <pc:sldMk cId="1676122233" sldId="285"/>
        </pc:sldMkLst>
        <pc:spChg chg="mod">
          <ac:chgData name="Roberto Gallardo" userId="49a044883f185952" providerId="LiveId" clId="{25BE2D22-C10C-457D-82F3-1AE0124C2F97}" dt="2023-01-11T22:44:54.647" v="808"/>
          <ac:spMkLst>
            <pc:docMk/>
            <pc:sldMk cId="1676122233" sldId="285"/>
            <ac:spMk id="2" creationId="{C03B1400-5F72-D252-1DBE-EDCD6E63B07C}"/>
          </ac:spMkLst>
        </pc:spChg>
        <pc:picChg chg="add del mod">
          <ac:chgData name="Roberto Gallardo" userId="49a044883f185952" providerId="LiveId" clId="{25BE2D22-C10C-457D-82F3-1AE0124C2F97}" dt="2023-01-13T00:49:15.012" v="1544" actId="478"/>
          <ac:picMkLst>
            <pc:docMk/>
            <pc:sldMk cId="1676122233" sldId="285"/>
            <ac:picMk id="5" creationId="{FB28BB10-4440-C49C-C212-9B1F86DA2A53}"/>
          </ac:picMkLst>
        </pc:picChg>
        <pc:picChg chg="add mod">
          <ac:chgData name="Roberto Gallardo" userId="49a044883f185952" providerId="LiveId" clId="{25BE2D22-C10C-457D-82F3-1AE0124C2F97}" dt="2023-01-13T00:49:29.987" v="1551" actId="1076"/>
          <ac:picMkLst>
            <pc:docMk/>
            <pc:sldMk cId="1676122233" sldId="285"/>
            <ac:picMk id="8" creationId="{48B1E2F8-C8FE-C52D-F7C0-EE1A726B9349}"/>
          </ac:picMkLst>
        </pc:picChg>
        <pc:picChg chg="del ord">
          <ac:chgData name="Roberto Gallardo" userId="49a044883f185952" providerId="LiveId" clId="{25BE2D22-C10C-457D-82F3-1AE0124C2F97}" dt="2023-01-14T14:24:12.553" v="2306" actId="478"/>
          <ac:picMkLst>
            <pc:docMk/>
            <pc:sldMk cId="1676122233" sldId="285"/>
            <ac:picMk id="13" creationId="{4F7357C3-AA47-A578-E18E-C38D0920BC2B}"/>
          </ac:picMkLst>
        </pc:picChg>
      </pc:sldChg>
      <pc:sldChg chg="addSp delSp modSp add mod">
        <pc:chgData name="Roberto Gallardo" userId="49a044883f185952" providerId="LiveId" clId="{25BE2D22-C10C-457D-82F3-1AE0124C2F97}" dt="2023-01-14T14:24:19.337" v="2307" actId="478"/>
        <pc:sldMkLst>
          <pc:docMk/>
          <pc:sldMk cId="3100398757" sldId="286"/>
        </pc:sldMkLst>
        <pc:spChg chg="mod">
          <ac:chgData name="Roberto Gallardo" userId="49a044883f185952" providerId="LiveId" clId="{25BE2D22-C10C-457D-82F3-1AE0124C2F97}" dt="2023-01-11T22:45:11.982" v="818" actId="20577"/>
          <ac:spMkLst>
            <pc:docMk/>
            <pc:sldMk cId="3100398757" sldId="286"/>
            <ac:spMk id="2" creationId="{C03B1400-5F72-D252-1DBE-EDCD6E63B07C}"/>
          </ac:spMkLst>
        </pc:spChg>
        <pc:picChg chg="add del mod">
          <ac:chgData name="Roberto Gallardo" userId="49a044883f185952" providerId="LiveId" clId="{25BE2D22-C10C-457D-82F3-1AE0124C2F97}" dt="2023-01-13T00:47:28.727" v="1534" actId="478"/>
          <ac:picMkLst>
            <pc:docMk/>
            <pc:sldMk cId="3100398757" sldId="286"/>
            <ac:picMk id="5" creationId="{AFF98FE7-2589-C430-0EAD-99850F92F54F}"/>
          </ac:picMkLst>
        </pc:picChg>
        <pc:picChg chg="add mod">
          <ac:chgData name="Roberto Gallardo" userId="49a044883f185952" providerId="LiveId" clId="{25BE2D22-C10C-457D-82F3-1AE0124C2F97}" dt="2023-01-13T00:47:43.328" v="1541" actId="1076"/>
          <ac:picMkLst>
            <pc:docMk/>
            <pc:sldMk cId="3100398757" sldId="286"/>
            <ac:picMk id="8" creationId="{67EF222E-EF11-45B4-B78B-674626454C4E}"/>
          </ac:picMkLst>
        </pc:picChg>
        <pc:picChg chg="del ord">
          <ac:chgData name="Roberto Gallardo" userId="49a044883f185952" providerId="LiveId" clId="{25BE2D22-C10C-457D-82F3-1AE0124C2F97}" dt="2023-01-14T14:24:19.337" v="2307" actId="478"/>
          <ac:picMkLst>
            <pc:docMk/>
            <pc:sldMk cId="3100398757" sldId="286"/>
            <ac:picMk id="13" creationId="{4F7357C3-AA47-A578-E18E-C38D0920BC2B}"/>
          </ac:picMkLst>
        </pc:picChg>
      </pc:sldChg>
      <pc:sldChg chg="addSp delSp modSp add mod">
        <pc:chgData name="Roberto Gallardo" userId="49a044883f185952" providerId="LiveId" clId="{25BE2D22-C10C-457D-82F3-1AE0124C2F97}" dt="2023-01-14T14:24:22.221" v="2308" actId="478"/>
        <pc:sldMkLst>
          <pc:docMk/>
          <pc:sldMk cId="1546475425" sldId="287"/>
        </pc:sldMkLst>
        <pc:spChg chg="mod">
          <ac:chgData name="Roberto Gallardo" userId="49a044883f185952" providerId="LiveId" clId="{25BE2D22-C10C-457D-82F3-1AE0124C2F97}" dt="2023-01-11T22:45:31.169" v="847" actId="20577"/>
          <ac:spMkLst>
            <pc:docMk/>
            <pc:sldMk cId="1546475425" sldId="287"/>
            <ac:spMk id="2" creationId="{C03B1400-5F72-D252-1DBE-EDCD6E63B07C}"/>
          </ac:spMkLst>
        </pc:spChg>
        <pc:picChg chg="add del mod">
          <ac:chgData name="Roberto Gallardo" userId="49a044883f185952" providerId="LiveId" clId="{25BE2D22-C10C-457D-82F3-1AE0124C2F97}" dt="2023-01-13T20:34:37.724" v="2227" actId="478"/>
          <ac:picMkLst>
            <pc:docMk/>
            <pc:sldMk cId="1546475425" sldId="287"/>
            <ac:picMk id="5" creationId="{FD832A6E-2207-8032-0D54-78174FBE0415}"/>
          </ac:picMkLst>
        </pc:picChg>
        <pc:picChg chg="add mod">
          <ac:chgData name="Roberto Gallardo" userId="49a044883f185952" providerId="LiveId" clId="{25BE2D22-C10C-457D-82F3-1AE0124C2F97}" dt="2023-01-13T20:34:56.281" v="2235" actId="1076"/>
          <ac:picMkLst>
            <pc:docMk/>
            <pc:sldMk cId="1546475425" sldId="287"/>
            <ac:picMk id="8" creationId="{46427D8E-669F-B7B7-9C33-5BCC9BE16612}"/>
          </ac:picMkLst>
        </pc:picChg>
        <pc:picChg chg="del ord">
          <ac:chgData name="Roberto Gallardo" userId="49a044883f185952" providerId="LiveId" clId="{25BE2D22-C10C-457D-82F3-1AE0124C2F97}" dt="2023-01-14T14:24:22.221" v="2308" actId="478"/>
          <ac:picMkLst>
            <pc:docMk/>
            <pc:sldMk cId="1546475425" sldId="287"/>
            <ac:picMk id="13" creationId="{4F7357C3-AA47-A578-E18E-C38D0920BC2B}"/>
          </ac:picMkLst>
        </pc:picChg>
      </pc:sldChg>
      <pc:sldChg chg="addSp delSp modSp add mod">
        <pc:chgData name="Roberto Gallardo" userId="49a044883f185952" providerId="LiveId" clId="{25BE2D22-C10C-457D-82F3-1AE0124C2F97}" dt="2023-01-14T14:24:27.885" v="2310" actId="478"/>
        <pc:sldMkLst>
          <pc:docMk/>
          <pc:sldMk cId="1380517306" sldId="288"/>
        </pc:sldMkLst>
        <pc:spChg chg="mod">
          <ac:chgData name="Roberto Gallardo" userId="49a044883f185952" providerId="LiveId" clId="{25BE2D22-C10C-457D-82F3-1AE0124C2F97}" dt="2023-01-11T22:46:41.249" v="928" actId="14100"/>
          <ac:spMkLst>
            <pc:docMk/>
            <pc:sldMk cId="1380517306" sldId="288"/>
            <ac:spMk id="2" creationId="{C03B1400-5F72-D252-1DBE-EDCD6E63B07C}"/>
          </ac:spMkLst>
        </pc:spChg>
        <pc:picChg chg="add del mod">
          <ac:chgData name="Roberto Gallardo" userId="49a044883f185952" providerId="LiveId" clId="{25BE2D22-C10C-457D-82F3-1AE0124C2F97}" dt="2023-01-13T20:38:34.476" v="2249" actId="478"/>
          <ac:picMkLst>
            <pc:docMk/>
            <pc:sldMk cId="1380517306" sldId="288"/>
            <ac:picMk id="5" creationId="{C5E67C54-9C75-F02C-1246-39D834A95E29}"/>
          </ac:picMkLst>
        </pc:picChg>
        <pc:picChg chg="add mod">
          <ac:chgData name="Roberto Gallardo" userId="49a044883f185952" providerId="LiveId" clId="{25BE2D22-C10C-457D-82F3-1AE0124C2F97}" dt="2023-01-13T20:38:54.477" v="2256" actId="1076"/>
          <ac:picMkLst>
            <pc:docMk/>
            <pc:sldMk cId="1380517306" sldId="288"/>
            <ac:picMk id="8" creationId="{DA143094-A860-740B-5598-937C43F51433}"/>
          </ac:picMkLst>
        </pc:picChg>
        <pc:picChg chg="del ord">
          <ac:chgData name="Roberto Gallardo" userId="49a044883f185952" providerId="LiveId" clId="{25BE2D22-C10C-457D-82F3-1AE0124C2F97}" dt="2023-01-14T14:24:27.885" v="2310" actId="478"/>
          <ac:picMkLst>
            <pc:docMk/>
            <pc:sldMk cId="1380517306" sldId="288"/>
            <ac:picMk id="13" creationId="{4F7357C3-AA47-A578-E18E-C38D0920BC2B}"/>
          </ac:picMkLst>
        </pc:picChg>
      </pc:sldChg>
      <pc:sldChg chg="addSp delSp modSp add mod">
        <pc:chgData name="Roberto Gallardo" userId="49a044883f185952" providerId="LiveId" clId="{25BE2D22-C10C-457D-82F3-1AE0124C2F97}" dt="2023-01-14T14:24:31.159" v="2311" actId="478"/>
        <pc:sldMkLst>
          <pc:docMk/>
          <pc:sldMk cId="1388671151" sldId="289"/>
        </pc:sldMkLst>
        <pc:spChg chg="mod">
          <ac:chgData name="Roberto Gallardo" userId="49a044883f185952" providerId="LiveId" clId="{25BE2D22-C10C-457D-82F3-1AE0124C2F97}" dt="2023-01-11T22:47:12.899" v="977" actId="20577"/>
          <ac:spMkLst>
            <pc:docMk/>
            <pc:sldMk cId="1388671151" sldId="289"/>
            <ac:spMk id="2" creationId="{C03B1400-5F72-D252-1DBE-EDCD6E63B07C}"/>
          </ac:spMkLst>
        </pc:spChg>
        <pc:picChg chg="add del mod">
          <ac:chgData name="Roberto Gallardo" userId="49a044883f185952" providerId="LiveId" clId="{25BE2D22-C10C-457D-82F3-1AE0124C2F97}" dt="2023-01-13T20:39:51.950" v="2259" actId="478"/>
          <ac:picMkLst>
            <pc:docMk/>
            <pc:sldMk cId="1388671151" sldId="289"/>
            <ac:picMk id="5" creationId="{83E6DDE1-4A6B-47A6-8C1F-B71F6390E80D}"/>
          </ac:picMkLst>
        </pc:picChg>
        <pc:picChg chg="add mod">
          <ac:chgData name="Roberto Gallardo" userId="49a044883f185952" providerId="LiveId" clId="{25BE2D22-C10C-457D-82F3-1AE0124C2F97}" dt="2023-01-13T20:40:08.194" v="2266" actId="1076"/>
          <ac:picMkLst>
            <pc:docMk/>
            <pc:sldMk cId="1388671151" sldId="289"/>
            <ac:picMk id="8" creationId="{AED980C4-47A1-C04E-25A3-CD82D8EDBD08}"/>
          </ac:picMkLst>
        </pc:picChg>
        <pc:picChg chg="del ord">
          <ac:chgData name="Roberto Gallardo" userId="49a044883f185952" providerId="LiveId" clId="{25BE2D22-C10C-457D-82F3-1AE0124C2F97}" dt="2023-01-14T14:24:31.159" v="2311" actId="478"/>
          <ac:picMkLst>
            <pc:docMk/>
            <pc:sldMk cId="1388671151" sldId="289"/>
            <ac:picMk id="13" creationId="{4F7357C3-AA47-A578-E18E-C38D0920BC2B}"/>
          </ac:picMkLst>
        </pc:picChg>
      </pc:sldChg>
      <pc:sldChg chg="addSp delSp modSp add mod">
        <pc:chgData name="Roberto Gallardo" userId="49a044883f185952" providerId="LiveId" clId="{25BE2D22-C10C-457D-82F3-1AE0124C2F97}" dt="2023-01-14T14:24:53.718" v="2314"/>
        <pc:sldMkLst>
          <pc:docMk/>
          <pc:sldMk cId="2355376039" sldId="290"/>
        </pc:sldMkLst>
        <pc:spChg chg="mod">
          <ac:chgData name="Roberto Gallardo" userId="49a044883f185952" providerId="LiveId" clId="{25BE2D22-C10C-457D-82F3-1AE0124C2F97}" dt="2023-01-11T22:47:27.629" v="995" actId="20577"/>
          <ac:spMkLst>
            <pc:docMk/>
            <pc:sldMk cId="2355376039" sldId="290"/>
            <ac:spMk id="2" creationId="{C03B1400-5F72-D252-1DBE-EDCD6E63B07C}"/>
          </ac:spMkLst>
        </pc:spChg>
        <pc:spChg chg="add mod">
          <ac:chgData name="Roberto Gallardo" userId="49a044883f185952" providerId="LiveId" clId="{25BE2D22-C10C-457D-82F3-1AE0124C2F97}" dt="2023-01-12T00:09:57.404" v="1258" actId="1038"/>
          <ac:spMkLst>
            <pc:docMk/>
            <pc:sldMk cId="2355376039" sldId="290"/>
            <ac:spMk id="3" creationId="{F554B59C-7317-13C7-D16E-7ACCF379CFEE}"/>
          </ac:spMkLst>
        </pc:spChg>
        <pc:spChg chg="add mod">
          <ac:chgData name="Roberto Gallardo" userId="49a044883f185952" providerId="LiveId" clId="{25BE2D22-C10C-457D-82F3-1AE0124C2F97}" dt="2023-01-14T14:24:53.718" v="2314"/>
          <ac:spMkLst>
            <pc:docMk/>
            <pc:sldMk cId="2355376039" sldId="290"/>
            <ac:spMk id="5" creationId="{AD271B2F-57B1-DDF3-844C-402D53D67F69}"/>
          </ac:spMkLst>
        </pc:spChg>
        <pc:spChg chg="del">
          <ac:chgData name="Roberto Gallardo" userId="49a044883f185952" providerId="LiveId" clId="{25BE2D22-C10C-457D-82F3-1AE0124C2F97}" dt="2023-01-14T14:24:53.274" v="2313" actId="478"/>
          <ac:spMkLst>
            <pc:docMk/>
            <pc:sldMk cId="2355376039" sldId="290"/>
            <ac:spMk id="7" creationId="{51811D46-3545-CBB8-9C35-BAFF095496AA}"/>
          </ac:spMkLst>
        </pc:spChg>
        <pc:picChg chg="add mod">
          <ac:chgData name="Roberto Gallardo" userId="49a044883f185952" providerId="LiveId" clId="{25BE2D22-C10C-457D-82F3-1AE0124C2F97}" dt="2023-01-13T20:41:14.378" v="2276" actId="1076"/>
          <ac:picMkLst>
            <pc:docMk/>
            <pc:sldMk cId="2355376039" sldId="290"/>
            <ac:picMk id="8" creationId="{691D88B5-CF63-BD38-2195-191C7A96E128}"/>
          </ac:picMkLst>
        </pc:picChg>
        <pc:picChg chg="add del mod">
          <ac:chgData name="Roberto Gallardo" userId="49a044883f185952" providerId="LiveId" clId="{25BE2D22-C10C-457D-82F3-1AE0124C2F97}" dt="2023-01-12T00:22:16.301" v="1286" actId="478"/>
          <ac:picMkLst>
            <pc:docMk/>
            <pc:sldMk cId="2355376039" sldId="290"/>
            <ac:picMk id="8" creationId="{8F5D28DC-366E-6475-17B2-A0C5D31ED66B}"/>
          </ac:picMkLst>
        </pc:picChg>
        <pc:picChg chg="add del mod">
          <ac:chgData name="Roberto Gallardo" userId="49a044883f185952" providerId="LiveId" clId="{25BE2D22-C10C-457D-82F3-1AE0124C2F97}" dt="2023-01-13T20:40:58.990" v="2269" actId="478"/>
          <ac:picMkLst>
            <pc:docMk/>
            <pc:sldMk cId="2355376039" sldId="290"/>
            <ac:picMk id="10" creationId="{544F6DC2-6E58-8070-44FA-C8565BF1D685}"/>
          </ac:picMkLst>
        </pc:picChg>
        <pc:picChg chg="del ord">
          <ac:chgData name="Roberto Gallardo" userId="49a044883f185952" providerId="LiveId" clId="{25BE2D22-C10C-457D-82F3-1AE0124C2F97}" dt="2023-01-14T14:24:40.876" v="2312" actId="478"/>
          <ac:picMkLst>
            <pc:docMk/>
            <pc:sldMk cId="2355376039" sldId="290"/>
            <ac:picMk id="13" creationId="{4F7357C3-AA47-A578-E18E-C38D0920BC2B}"/>
          </ac:picMkLst>
        </pc:picChg>
      </pc:sldChg>
      <pc:sldChg chg="addSp delSp modSp add mod">
        <pc:chgData name="Roberto Gallardo" userId="49a044883f185952" providerId="LiveId" clId="{25BE2D22-C10C-457D-82F3-1AE0124C2F97}" dt="2023-01-14T14:25:12.736" v="2319"/>
        <pc:sldMkLst>
          <pc:docMk/>
          <pc:sldMk cId="3757257295" sldId="291"/>
        </pc:sldMkLst>
        <pc:spChg chg="mod">
          <ac:chgData name="Roberto Gallardo" userId="49a044883f185952" providerId="LiveId" clId="{25BE2D22-C10C-457D-82F3-1AE0124C2F97}" dt="2023-01-11T22:56:33.692" v="1008" actId="20577"/>
          <ac:spMkLst>
            <pc:docMk/>
            <pc:sldMk cId="3757257295" sldId="291"/>
            <ac:spMk id="2" creationId="{C03B1400-5F72-D252-1DBE-EDCD6E63B07C}"/>
          </ac:spMkLst>
        </pc:spChg>
        <pc:spChg chg="add mod">
          <ac:chgData name="Roberto Gallardo" userId="49a044883f185952" providerId="LiveId" clId="{25BE2D22-C10C-457D-82F3-1AE0124C2F97}" dt="2023-01-12T00:10:20.819" v="1268" actId="20577"/>
          <ac:spMkLst>
            <pc:docMk/>
            <pc:sldMk cId="3757257295" sldId="291"/>
            <ac:spMk id="3" creationId="{0DD3D37B-27F1-F3E8-0A30-705EC12F09D5}"/>
          </ac:spMkLst>
        </pc:spChg>
        <pc:spChg chg="add del mod">
          <ac:chgData name="Roberto Gallardo" userId="49a044883f185952" providerId="LiveId" clId="{25BE2D22-C10C-457D-82F3-1AE0124C2F97}" dt="2023-01-14T14:25:09.623" v="2317"/>
          <ac:spMkLst>
            <pc:docMk/>
            <pc:sldMk cId="3757257295" sldId="291"/>
            <ac:spMk id="5" creationId="{483DB107-11DE-DF88-519E-8C57C7DD7336}"/>
          </ac:spMkLst>
        </pc:spChg>
        <pc:spChg chg="del">
          <ac:chgData name="Roberto Gallardo" userId="49a044883f185952" providerId="LiveId" clId="{25BE2D22-C10C-457D-82F3-1AE0124C2F97}" dt="2023-01-14T14:25:12.306" v="2318" actId="478"/>
          <ac:spMkLst>
            <pc:docMk/>
            <pc:sldMk cId="3757257295" sldId="291"/>
            <ac:spMk id="7" creationId="{51811D46-3545-CBB8-9C35-BAFF095496AA}"/>
          </ac:spMkLst>
        </pc:spChg>
        <pc:spChg chg="add mod">
          <ac:chgData name="Roberto Gallardo" userId="49a044883f185952" providerId="LiveId" clId="{25BE2D22-C10C-457D-82F3-1AE0124C2F97}" dt="2023-01-14T14:25:12.736" v="2319"/>
          <ac:spMkLst>
            <pc:docMk/>
            <pc:sldMk cId="3757257295" sldId="291"/>
            <ac:spMk id="9" creationId="{7186EF87-E728-D13E-4ADB-699D1D4C3197}"/>
          </ac:spMkLst>
        </pc:spChg>
        <pc:graphicFrameChg chg="mod">
          <ac:chgData name="Roberto Gallardo" userId="49a044883f185952" providerId="LiveId" clId="{25BE2D22-C10C-457D-82F3-1AE0124C2F97}" dt="2023-01-12T00:24:33.263" v="1307"/>
          <ac:graphicFrameMkLst>
            <pc:docMk/>
            <pc:sldMk cId="3757257295" sldId="291"/>
            <ac:graphicFrameMk id="6" creationId="{CE45C3AF-C253-DC6A-54C2-FE3F8F710345}"/>
          </ac:graphicFrameMkLst>
        </pc:graphicFrameChg>
        <pc:picChg chg="add mod">
          <ac:chgData name="Roberto Gallardo" userId="49a044883f185952" providerId="LiveId" clId="{25BE2D22-C10C-457D-82F3-1AE0124C2F97}" dt="2023-01-13T20:42:09.429" v="2286" actId="1076"/>
          <ac:picMkLst>
            <pc:docMk/>
            <pc:sldMk cId="3757257295" sldId="291"/>
            <ac:picMk id="8" creationId="{674086C1-C7A9-8285-AAEA-22247A0797F9}"/>
          </ac:picMkLst>
        </pc:picChg>
        <pc:picChg chg="add del mod">
          <ac:chgData name="Roberto Gallardo" userId="49a044883f185952" providerId="LiveId" clId="{25BE2D22-C10C-457D-82F3-1AE0124C2F97}" dt="2023-01-12T00:24:01.470" v="1297" actId="478"/>
          <ac:picMkLst>
            <pc:docMk/>
            <pc:sldMk cId="3757257295" sldId="291"/>
            <ac:picMk id="8" creationId="{96293E5E-D452-41E7-A15F-759CF4CBFDC3}"/>
          </ac:picMkLst>
        </pc:picChg>
        <pc:picChg chg="add del mod">
          <ac:chgData name="Roberto Gallardo" userId="49a044883f185952" providerId="LiveId" clId="{25BE2D22-C10C-457D-82F3-1AE0124C2F97}" dt="2023-01-13T20:41:52.925" v="2279" actId="478"/>
          <ac:picMkLst>
            <pc:docMk/>
            <pc:sldMk cId="3757257295" sldId="291"/>
            <ac:picMk id="10" creationId="{D5BAA171-9CEB-D897-BCC8-382AACA9FB83}"/>
          </ac:picMkLst>
        </pc:picChg>
        <pc:picChg chg="del ord">
          <ac:chgData name="Roberto Gallardo" userId="49a044883f185952" providerId="LiveId" clId="{25BE2D22-C10C-457D-82F3-1AE0124C2F97}" dt="2023-01-14T14:25:07.169" v="2315" actId="478"/>
          <ac:picMkLst>
            <pc:docMk/>
            <pc:sldMk cId="3757257295" sldId="291"/>
            <ac:picMk id="13" creationId="{4F7357C3-AA47-A578-E18E-C38D0920BC2B}"/>
          </ac:picMkLst>
        </pc:picChg>
      </pc:sldChg>
      <pc:sldChg chg="addSp delSp modSp add mod">
        <pc:chgData name="Roberto Gallardo" userId="49a044883f185952" providerId="LiveId" clId="{25BE2D22-C10C-457D-82F3-1AE0124C2F97}" dt="2023-01-14T14:24:24.822" v="2309" actId="478"/>
        <pc:sldMkLst>
          <pc:docMk/>
          <pc:sldMk cId="1259856727" sldId="292"/>
        </pc:sldMkLst>
        <pc:spChg chg="mod">
          <ac:chgData name="Roberto Gallardo" userId="49a044883f185952" providerId="LiveId" clId="{25BE2D22-C10C-457D-82F3-1AE0124C2F97}" dt="2023-01-11T23:03:17.910" v="1024" actId="20577"/>
          <ac:spMkLst>
            <pc:docMk/>
            <pc:sldMk cId="1259856727" sldId="292"/>
            <ac:spMk id="2" creationId="{C03B1400-5F72-D252-1DBE-EDCD6E63B07C}"/>
          </ac:spMkLst>
        </pc:spChg>
        <pc:picChg chg="add del mod">
          <ac:chgData name="Roberto Gallardo" userId="49a044883f185952" providerId="LiveId" clId="{25BE2D22-C10C-457D-82F3-1AE0124C2F97}" dt="2023-01-13T20:36:01.013" v="2239" actId="478"/>
          <ac:picMkLst>
            <pc:docMk/>
            <pc:sldMk cId="1259856727" sldId="292"/>
            <ac:picMk id="5" creationId="{F85B19F8-3D9A-8A85-5A11-DFD95EFF75A0}"/>
          </ac:picMkLst>
        </pc:picChg>
        <pc:picChg chg="add mod">
          <ac:chgData name="Roberto Gallardo" userId="49a044883f185952" providerId="LiveId" clId="{25BE2D22-C10C-457D-82F3-1AE0124C2F97}" dt="2023-01-13T20:36:16.877" v="2246" actId="1076"/>
          <ac:picMkLst>
            <pc:docMk/>
            <pc:sldMk cId="1259856727" sldId="292"/>
            <ac:picMk id="8" creationId="{ACDBDE58-AC87-FD18-3F93-26923B735BD3}"/>
          </ac:picMkLst>
        </pc:picChg>
        <pc:picChg chg="del ord">
          <ac:chgData name="Roberto Gallardo" userId="49a044883f185952" providerId="LiveId" clId="{25BE2D22-C10C-457D-82F3-1AE0124C2F97}" dt="2023-01-14T14:24:24.822" v="2309" actId="478"/>
          <ac:picMkLst>
            <pc:docMk/>
            <pc:sldMk cId="1259856727" sldId="292"/>
            <ac:picMk id="13" creationId="{4F7357C3-AA47-A578-E18E-C38D0920BC2B}"/>
          </ac:picMkLst>
        </pc:picChg>
      </pc:sldChg>
      <pc:sldChg chg="delSp modSp add mod">
        <pc:chgData name="Roberto Gallardo" userId="49a044883f185952" providerId="LiveId" clId="{25BE2D22-C10C-457D-82F3-1AE0124C2F97}" dt="2023-01-14T14:23:52.109" v="2301" actId="478"/>
        <pc:sldMkLst>
          <pc:docMk/>
          <pc:sldMk cId="3324519687" sldId="293"/>
        </pc:sldMkLst>
        <pc:picChg chg="del ord">
          <ac:chgData name="Roberto Gallardo" userId="49a044883f185952" providerId="LiveId" clId="{25BE2D22-C10C-457D-82F3-1AE0124C2F97}" dt="2023-01-14T14:23:52.109" v="2301" actId="478"/>
          <ac:picMkLst>
            <pc:docMk/>
            <pc:sldMk cId="3324519687" sldId="293"/>
            <ac:picMk id="13" creationId="{4F7357C3-AA47-A578-E18E-C38D0920BC2B}"/>
          </ac:picMkLst>
        </pc:picChg>
      </pc:sldChg>
      <pc:sldChg chg="addSp delSp modSp add del mod">
        <pc:chgData name="Roberto Gallardo" userId="49a044883f185952" providerId="LiveId" clId="{25BE2D22-C10C-457D-82F3-1AE0124C2F97}" dt="2023-01-13T02:32:06.396" v="1761" actId="47"/>
        <pc:sldMkLst>
          <pc:docMk/>
          <pc:sldMk cId="4283072567" sldId="294"/>
        </pc:sldMkLst>
        <pc:spChg chg="mod">
          <ac:chgData name="Roberto Gallardo" userId="49a044883f185952" providerId="LiveId" clId="{25BE2D22-C10C-457D-82F3-1AE0124C2F97}" dt="2023-01-13T02:24:12.242" v="1688" actId="20577"/>
          <ac:spMkLst>
            <pc:docMk/>
            <pc:sldMk cId="4283072567" sldId="294"/>
            <ac:spMk id="2" creationId="{C03B1400-5F72-D252-1DBE-EDCD6E63B07C}"/>
          </ac:spMkLst>
        </pc:spChg>
        <pc:spChg chg="mod">
          <ac:chgData name="Roberto Gallardo" userId="49a044883f185952" providerId="LiveId" clId="{25BE2D22-C10C-457D-82F3-1AE0124C2F97}" dt="2023-01-13T02:27:54.557" v="1717" actId="20577"/>
          <ac:spMkLst>
            <pc:docMk/>
            <pc:sldMk cId="4283072567" sldId="294"/>
            <ac:spMk id="3" creationId="{AF651823-818E-912D-E331-CDEB914505A8}"/>
          </ac:spMkLst>
        </pc:spChg>
        <pc:picChg chg="add mod">
          <ac:chgData name="Roberto Gallardo" userId="49a044883f185952" providerId="LiveId" clId="{25BE2D22-C10C-457D-82F3-1AE0124C2F97}" dt="2023-01-13T02:24:43.946" v="1695" actId="1076"/>
          <ac:picMkLst>
            <pc:docMk/>
            <pc:sldMk cId="4283072567" sldId="294"/>
            <ac:picMk id="6" creationId="{E4C241FD-A5C1-84E8-410F-86CD1B3B15F7}"/>
          </ac:picMkLst>
        </pc:picChg>
        <pc:picChg chg="del">
          <ac:chgData name="Roberto Gallardo" userId="49a044883f185952" providerId="LiveId" clId="{25BE2D22-C10C-457D-82F3-1AE0124C2F97}" dt="2023-01-13T02:24:14.194" v="1689" actId="478"/>
          <ac:picMkLst>
            <pc:docMk/>
            <pc:sldMk cId="4283072567" sldId="294"/>
            <ac:picMk id="10" creationId="{1B762686-DC65-9B90-CF68-660E6B2284BC}"/>
          </ac:picMkLst>
        </pc:picChg>
        <pc:picChg chg="ord">
          <ac:chgData name="Roberto Gallardo" userId="49a044883f185952" providerId="LiveId" clId="{25BE2D22-C10C-457D-82F3-1AE0124C2F97}" dt="2023-01-13T02:28:05.806" v="1718" actId="166"/>
          <ac:picMkLst>
            <pc:docMk/>
            <pc:sldMk cId="4283072567" sldId="294"/>
            <ac:picMk id="13" creationId="{4F7357C3-AA47-A578-E18E-C38D0920BC2B}"/>
          </ac:picMkLst>
        </pc:picChg>
      </pc:sldChg>
      <pc:sldChg chg="addSp delSp modSp add mod ord">
        <pc:chgData name="Roberto Gallardo" userId="49a044883f185952" providerId="LiveId" clId="{25BE2D22-C10C-457D-82F3-1AE0124C2F97}" dt="2023-01-14T14:23:22.367" v="2297" actId="478"/>
        <pc:sldMkLst>
          <pc:docMk/>
          <pc:sldMk cId="3256182630" sldId="295"/>
        </pc:sldMkLst>
        <pc:spChg chg="mod">
          <ac:chgData name="Roberto Gallardo" userId="49a044883f185952" providerId="LiveId" clId="{25BE2D22-C10C-457D-82F3-1AE0124C2F97}" dt="2023-01-13T02:32:16.357" v="1767" actId="20577"/>
          <ac:spMkLst>
            <pc:docMk/>
            <pc:sldMk cId="3256182630" sldId="295"/>
            <ac:spMk id="2" creationId="{C03B1400-5F72-D252-1DBE-EDCD6E63B07C}"/>
          </ac:spMkLst>
        </pc:spChg>
        <pc:spChg chg="mod">
          <ac:chgData name="Roberto Gallardo" userId="49a044883f185952" providerId="LiveId" clId="{25BE2D22-C10C-457D-82F3-1AE0124C2F97}" dt="2023-01-13T02:31:29.100" v="1754" actId="1035"/>
          <ac:spMkLst>
            <pc:docMk/>
            <pc:sldMk cId="3256182630" sldId="295"/>
            <ac:spMk id="3" creationId="{AF651823-818E-912D-E331-CDEB914505A8}"/>
          </ac:spMkLst>
        </pc:spChg>
        <pc:graphicFrameChg chg="add mod">
          <ac:chgData name="Roberto Gallardo" userId="49a044883f185952" providerId="LiveId" clId="{25BE2D22-C10C-457D-82F3-1AE0124C2F97}" dt="2023-01-13T02:31:03.262" v="1744"/>
          <ac:graphicFrameMkLst>
            <pc:docMk/>
            <pc:sldMk cId="3256182630" sldId="295"/>
            <ac:graphicFrameMk id="8" creationId="{D3B2E8D2-9CCD-964A-5CD5-9F743C3CE109}"/>
          </ac:graphicFrameMkLst>
        </pc:graphicFrameChg>
        <pc:picChg chg="add mod">
          <ac:chgData name="Roberto Gallardo" userId="49a044883f185952" providerId="LiveId" clId="{25BE2D22-C10C-457D-82F3-1AE0124C2F97}" dt="2023-01-13T20:29:39.532" v="2204" actId="1076"/>
          <ac:picMkLst>
            <pc:docMk/>
            <pc:sldMk cId="3256182630" sldId="295"/>
            <ac:picMk id="6" creationId="{1702842D-CEA8-22EA-EB94-B22A16AB6736}"/>
          </ac:picMkLst>
        </pc:picChg>
        <pc:picChg chg="del">
          <ac:chgData name="Roberto Gallardo" userId="49a044883f185952" providerId="LiveId" clId="{25BE2D22-C10C-457D-82F3-1AE0124C2F97}" dt="2023-01-13T02:30:06.608" v="1726" actId="478"/>
          <ac:picMkLst>
            <pc:docMk/>
            <pc:sldMk cId="3256182630" sldId="295"/>
            <ac:picMk id="6" creationId="{E4C241FD-A5C1-84E8-410F-86CD1B3B15F7}"/>
          </ac:picMkLst>
        </pc:picChg>
        <pc:picChg chg="add del mod">
          <ac:chgData name="Roberto Gallardo" userId="49a044883f185952" providerId="LiveId" clId="{25BE2D22-C10C-457D-82F3-1AE0124C2F97}" dt="2023-01-13T20:29:17.840" v="2197" actId="478"/>
          <ac:picMkLst>
            <pc:docMk/>
            <pc:sldMk cId="3256182630" sldId="295"/>
            <ac:picMk id="7" creationId="{03537EF1-AA28-12B3-A8B5-56716712F13E}"/>
          </ac:picMkLst>
        </pc:picChg>
        <pc:picChg chg="del ord">
          <ac:chgData name="Roberto Gallardo" userId="49a044883f185952" providerId="LiveId" clId="{25BE2D22-C10C-457D-82F3-1AE0124C2F97}" dt="2023-01-14T14:23:22.367" v="2297" actId="478"/>
          <ac:picMkLst>
            <pc:docMk/>
            <pc:sldMk cId="3256182630" sldId="295"/>
            <ac:picMk id="13" creationId="{4F7357C3-AA47-A578-E18E-C38D0920BC2B}"/>
          </ac:picMkLst>
        </pc:picChg>
      </pc:sldChg>
      <pc:sldChg chg="delSp modSp add mod">
        <pc:chgData name="Roberto Gallardo" userId="49a044883f185952" providerId="LiveId" clId="{25BE2D22-C10C-457D-82F3-1AE0124C2F97}" dt="2023-01-14T14:23:36.145" v="2298" actId="478"/>
        <pc:sldMkLst>
          <pc:docMk/>
          <pc:sldMk cId="4057156843" sldId="296"/>
        </pc:sldMkLst>
        <pc:picChg chg="del ord">
          <ac:chgData name="Roberto Gallardo" userId="49a044883f185952" providerId="LiveId" clId="{25BE2D22-C10C-457D-82F3-1AE0124C2F97}" dt="2023-01-14T14:23:36.145" v="2298" actId="478"/>
          <ac:picMkLst>
            <pc:docMk/>
            <pc:sldMk cId="4057156843" sldId="296"/>
            <ac:picMk id="13" creationId="{4F7357C3-AA47-A578-E18E-C38D0920BC2B}"/>
          </ac:picMkLst>
        </pc:picChg>
      </pc:sldChg>
      <pc:sldChg chg="addSp delSp modSp add mod ord">
        <pc:chgData name="Roberto Gallardo" userId="49a044883f185952" providerId="LiveId" clId="{25BE2D22-C10C-457D-82F3-1AE0124C2F97}" dt="2023-01-14T14:25:47.762" v="2326"/>
        <pc:sldMkLst>
          <pc:docMk/>
          <pc:sldMk cId="2080110827" sldId="297"/>
        </pc:sldMkLst>
        <pc:spChg chg="mod">
          <ac:chgData name="Roberto Gallardo" userId="49a044883f185952" providerId="LiveId" clId="{25BE2D22-C10C-457D-82F3-1AE0124C2F97}" dt="2023-01-13T02:36:58.286" v="1840" actId="20577"/>
          <ac:spMkLst>
            <pc:docMk/>
            <pc:sldMk cId="2080110827" sldId="297"/>
            <ac:spMk id="2" creationId="{C03B1400-5F72-D252-1DBE-EDCD6E63B07C}"/>
          </ac:spMkLst>
        </pc:spChg>
        <pc:spChg chg="del">
          <ac:chgData name="Roberto Gallardo" userId="49a044883f185952" providerId="LiveId" clId="{25BE2D22-C10C-457D-82F3-1AE0124C2F97}" dt="2023-01-13T02:34:35.142" v="1804" actId="478"/>
          <ac:spMkLst>
            <pc:docMk/>
            <pc:sldMk cId="2080110827" sldId="297"/>
            <ac:spMk id="3" creationId="{AF651823-818E-912D-E331-CDEB914505A8}"/>
          </ac:spMkLst>
        </pc:spChg>
        <pc:spChg chg="add mod">
          <ac:chgData name="Roberto Gallardo" userId="49a044883f185952" providerId="LiveId" clId="{25BE2D22-C10C-457D-82F3-1AE0124C2F97}" dt="2023-01-13T02:34:45.290" v="1806" actId="1076"/>
          <ac:spMkLst>
            <pc:docMk/>
            <pc:sldMk cId="2080110827" sldId="297"/>
            <ac:spMk id="5" creationId="{49866A15-B76A-3F87-511A-D93ED0BB1636}"/>
          </ac:spMkLst>
        </pc:spChg>
        <pc:picChg chg="add mod">
          <ac:chgData name="Roberto Gallardo" userId="49a044883f185952" providerId="LiveId" clId="{25BE2D22-C10C-457D-82F3-1AE0124C2F97}" dt="2023-01-13T02:38:06.905" v="1847" actId="1076"/>
          <ac:picMkLst>
            <pc:docMk/>
            <pc:sldMk cId="2080110827" sldId="297"/>
            <ac:picMk id="7" creationId="{0388A1BD-F495-CF38-451C-2DAAAE28522D}"/>
          </ac:picMkLst>
        </pc:picChg>
        <pc:picChg chg="del">
          <ac:chgData name="Roberto Gallardo" userId="49a044883f185952" providerId="LiveId" clId="{25BE2D22-C10C-457D-82F3-1AE0124C2F97}" dt="2023-01-13T02:34:48.721" v="1807" actId="478"/>
          <ac:picMkLst>
            <pc:docMk/>
            <pc:sldMk cId="2080110827" sldId="297"/>
            <ac:picMk id="10" creationId="{1B762686-DC65-9B90-CF68-660E6B2284BC}"/>
          </ac:picMkLst>
        </pc:picChg>
        <pc:picChg chg="del ord">
          <ac:chgData name="Roberto Gallardo" userId="49a044883f185952" providerId="LiveId" clId="{25BE2D22-C10C-457D-82F3-1AE0124C2F97}" dt="2023-01-14T14:23:48.880" v="2300" actId="478"/>
          <ac:picMkLst>
            <pc:docMk/>
            <pc:sldMk cId="2080110827" sldId="297"/>
            <ac:picMk id="13" creationId="{4F7357C3-AA47-A578-E18E-C38D0920BC2B}"/>
          </ac:picMkLst>
        </pc:picChg>
      </pc:sldChg>
      <pc:sldChg chg="addSp delSp modSp add mod ord">
        <pc:chgData name="Roberto Gallardo" userId="49a044883f185952" providerId="LiveId" clId="{25BE2D22-C10C-457D-82F3-1AE0124C2F97}" dt="2023-01-14T14:25:47.762" v="2326"/>
        <pc:sldMkLst>
          <pc:docMk/>
          <pc:sldMk cId="1532666867" sldId="298"/>
        </pc:sldMkLst>
        <pc:spChg chg="mod">
          <ac:chgData name="Roberto Gallardo" userId="49a044883f185952" providerId="LiveId" clId="{25BE2D22-C10C-457D-82F3-1AE0124C2F97}" dt="2023-01-13T02:36:47.797" v="1833" actId="20577"/>
          <ac:spMkLst>
            <pc:docMk/>
            <pc:sldMk cId="1532666867" sldId="298"/>
            <ac:spMk id="2" creationId="{C03B1400-5F72-D252-1DBE-EDCD6E63B07C}"/>
          </ac:spMkLst>
        </pc:spChg>
        <pc:picChg chg="add mod">
          <ac:chgData name="Roberto Gallardo" userId="49a044883f185952" providerId="LiveId" clId="{25BE2D22-C10C-457D-82F3-1AE0124C2F97}" dt="2023-01-13T02:36:10.725" v="1821" actId="1076"/>
          <ac:picMkLst>
            <pc:docMk/>
            <pc:sldMk cId="1532666867" sldId="298"/>
            <ac:picMk id="6" creationId="{F1EBB4A8-83F5-668F-D12B-3E393E0C0F7B}"/>
          </ac:picMkLst>
        </pc:picChg>
        <pc:picChg chg="del ord">
          <ac:chgData name="Roberto Gallardo" userId="49a044883f185952" providerId="LiveId" clId="{25BE2D22-C10C-457D-82F3-1AE0124C2F97}" dt="2023-01-14T14:23:45.981" v="2299" actId="478"/>
          <ac:picMkLst>
            <pc:docMk/>
            <pc:sldMk cId="1532666867" sldId="298"/>
            <ac:picMk id="13" creationId="{4F7357C3-AA47-A578-E18E-C38D0920BC2B}"/>
          </ac:picMkLst>
        </pc:picChg>
      </pc:sldChg>
    </pc:docChg>
  </pc:docChgLst>
  <pc:docChgLst>
    <pc:chgData name="Roberto Gallardo" userId="49a044883f185952" providerId="LiveId" clId="{F9AB91B2-BAF9-4239-B4B5-87EA66B6F649}"/>
    <pc:docChg chg="custSel modSld">
      <pc:chgData name="Roberto Gallardo" userId="49a044883f185952" providerId="LiveId" clId="{F9AB91B2-BAF9-4239-B4B5-87EA66B6F649}" dt="2023-02-06T00:11:55.742" v="30" actId="478"/>
      <pc:docMkLst>
        <pc:docMk/>
      </pc:docMkLst>
      <pc:sldChg chg="modSp mod">
        <pc:chgData name="Roberto Gallardo" userId="49a044883f185952" providerId="LiveId" clId="{F9AB91B2-BAF9-4239-B4B5-87EA66B6F649}" dt="2023-02-06T00:10:13.973" v="11" actId="20577"/>
        <pc:sldMkLst>
          <pc:docMk/>
          <pc:sldMk cId="2846901679" sldId="256"/>
        </pc:sldMkLst>
        <pc:spChg chg="mod">
          <ac:chgData name="Roberto Gallardo" userId="49a044883f185952" providerId="LiveId" clId="{F9AB91B2-BAF9-4239-B4B5-87EA66B6F649}" dt="2023-02-06T00:10:13.973" v="11" actId="20577"/>
          <ac:spMkLst>
            <pc:docMk/>
            <pc:sldMk cId="2846901679" sldId="256"/>
            <ac:spMk id="7" creationId="{B1E0ABEC-554C-720A-2772-F0324C8E93CA}"/>
          </ac:spMkLst>
        </pc:spChg>
      </pc:sldChg>
      <pc:sldChg chg="delSp mod">
        <pc:chgData name="Roberto Gallardo" userId="49a044883f185952" providerId="LiveId" clId="{F9AB91B2-BAF9-4239-B4B5-87EA66B6F649}" dt="2023-02-06T00:10:44.363" v="12" actId="478"/>
        <pc:sldMkLst>
          <pc:docMk/>
          <pc:sldMk cId="1418533539" sldId="271"/>
        </pc:sldMkLst>
        <pc:picChg chg="del">
          <ac:chgData name="Roberto Gallardo" userId="49a044883f185952" providerId="LiveId" clId="{F9AB91B2-BAF9-4239-B4B5-87EA66B6F649}" dt="2023-02-06T00:10:44.363" v="12" actId="478"/>
          <ac:picMkLst>
            <pc:docMk/>
            <pc:sldMk cId="1418533539" sldId="271"/>
            <ac:picMk id="7" creationId="{CF74D533-2D85-32B8-6A1F-30678252C584}"/>
          </ac:picMkLst>
        </pc:picChg>
      </pc:sldChg>
      <pc:sldChg chg="delSp mod">
        <pc:chgData name="Roberto Gallardo" userId="49a044883f185952" providerId="LiveId" clId="{F9AB91B2-BAF9-4239-B4B5-87EA66B6F649}" dt="2023-02-06T00:11:08.640" v="18" actId="478"/>
        <pc:sldMkLst>
          <pc:docMk/>
          <pc:sldMk cId="2124848710" sldId="281"/>
        </pc:sldMkLst>
        <pc:picChg chg="del">
          <ac:chgData name="Roberto Gallardo" userId="49a044883f185952" providerId="LiveId" clId="{F9AB91B2-BAF9-4239-B4B5-87EA66B6F649}" dt="2023-02-06T00:11:08.640" v="18" actId="478"/>
          <ac:picMkLst>
            <pc:docMk/>
            <pc:sldMk cId="2124848710" sldId="281"/>
            <ac:picMk id="5" creationId="{48719103-E2CA-CC6F-A9D3-6D2BD284EC6D}"/>
          </ac:picMkLst>
        </pc:picChg>
      </pc:sldChg>
      <pc:sldChg chg="delSp mod">
        <pc:chgData name="Roberto Gallardo" userId="49a044883f185952" providerId="LiveId" clId="{F9AB91B2-BAF9-4239-B4B5-87EA66B6F649}" dt="2023-02-06T00:11:12.405" v="19" actId="478"/>
        <pc:sldMkLst>
          <pc:docMk/>
          <pc:sldMk cId="2028175529" sldId="282"/>
        </pc:sldMkLst>
        <pc:picChg chg="del">
          <ac:chgData name="Roberto Gallardo" userId="49a044883f185952" providerId="LiveId" clId="{F9AB91B2-BAF9-4239-B4B5-87EA66B6F649}" dt="2023-02-06T00:11:12.405" v="19" actId="478"/>
          <ac:picMkLst>
            <pc:docMk/>
            <pc:sldMk cId="2028175529" sldId="282"/>
            <ac:picMk id="8" creationId="{CFE023EC-0FF0-6406-85A7-175F15D08D2F}"/>
          </ac:picMkLst>
        </pc:picChg>
      </pc:sldChg>
      <pc:sldChg chg="delSp mod">
        <pc:chgData name="Roberto Gallardo" userId="49a044883f185952" providerId="LiveId" clId="{F9AB91B2-BAF9-4239-B4B5-87EA66B6F649}" dt="2023-02-06T00:11:17.242" v="20" actId="478"/>
        <pc:sldMkLst>
          <pc:docMk/>
          <pc:sldMk cId="1326517747" sldId="283"/>
        </pc:sldMkLst>
        <pc:picChg chg="del">
          <ac:chgData name="Roberto Gallardo" userId="49a044883f185952" providerId="LiveId" clId="{F9AB91B2-BAF9-4239-B4B5-87EA66B6F649}" dt="2023-02-06T00:11:17.242" v="20" actId="478"/>
          <ac:picMkLst>
            <pc:docMk/>
            <pc:sldMk cId="1326517747" sldId="283"/>
            <ac:picMk id="8" creationId="{9A29E625-A19A-7665-D4A2-F80734D2096C}"/>
          </ac:picMkLst>
        </pc:picChg>
      </pc:sldChg>
      <pc:sldChg chg="delSp mod">
        <pc:chgData name="Roberto Gallardo" userId="49a044883f185952" providerId="LiveId" clId="{F9AB91B2-BAF9-4239-B4B5-87EA66B6F649}" dt="2023-02-06T00:11:21.050" v="21" actId="478"/>
        <pc:sldMkLst>
          <pc:docMk/>
          <pc:sldMk cId="783739251" sldId="284"/>
        </pc:sldMkLst>
        <pc:picChg chg="del">
          <ac:chgData name="Roberto Gallardo" userId="49a044883f185952" providerId="LiveId" clId="{F9AB91B2-BAF9-4239-B4B5-87EA66B6F649}" dt="2023-02-06T00:11:21.050" v="21" actId="478"/>
          <ac:picMkLst>
            <pc:docMk/>
            <pc:sldMk cId="783739251" sldId="284"/>
            <ac:picMk id="8" creationId="{63CDE078-CCBF-8497-C770-4245D0782293}"/>
          </ac:picMkLst>
        </pc:picChg>
      </pc:sldChg>
      <pc:sldChg chg="delSp mod">
        <pc:chgData name="Roberto Gallardo" userId="49a044883f185952" providerId="LiveId" clId="{F9AB91B2-BAF9-4239-B4B5-87EA66B6F649}" dt="2023-02-06T00:11:24.362" v="22" actId="478"/>
        <pc:sldMkLst>
          <pc:docMk/>
          <pc:sldMk cId="1676122233" sldId="285"/>
        </pc:sldMkLst>
        <pc:picChg chg="del">
          <ac:chgData name="Roberto Gallardo" userId="49a044883f185952" providerId="LiveId" clId="{F9AB91B2-BAF9-4239-B4B5-87EA66B6F649}" dt="2023-02-06T00:11:24.362" v="22" actId="478"/>
          <ac:picMkLst>
            <pc:docMk/>
            <pc:sldMk cId="1676122233" sldId="285"/>
            <ac:picMk id="8" creationId="{301A97BC-685B-5788-F49B-36F9BF8D7A6A}"/>
          </ac:picMkLst>
        </pc:picChg>
      </pc:sldChg>
      <pc:sldChg chg="delSp mod">
        <pc:chgData name="Roberto Gallardo" userId="49a044883f185952" providerId="LiveId" clId="{F9AB91B2-BAF9-4239-B4B5-87EA66B6F649}" dt="2023-02-06T00:11:28.151" v="23" actId="478"/>
        <pc:sldMkLst>
          <pc:docMk/>
          <pc:sldMk cId="3100398757" sldId="286"/>
        </pc:sldMkLst>
        <pc:picChg chg="del">
          <ac:chgData name="Roberto Gallardo" userId="49a044883f185952" providerId="LiveId" clId="{F9AB91B2-BAF9-4239-B4B5-87EA66B6F649}" dt="2023-02-06T00:11:28.151" v="23" actId="478"/>
          <ac:picMkLst>
            <pc:docMk/>
            <pc:sldMk cId="3100398757" sldId="286"/>
            <ac:picMk id="8" creationId="{1B94F364-0690-10E3-7A2A-1C3CCDD3C930}"/>
          </ac:picMkLst>
        </pc:picChg>
      </pc:sldChg>
      <pc:sldChg chg="delSp mod">
        <pc:chgData name="Roberto Gallardo" userId="49a044883f185952" providerId="LiveId" clId="{F9AB91B2-BAF9-4239-B4B5-87EA66B6F649}" dt="2023-02-06T00:11:32.001" v="24" actId="478"/>
        <pc:sldMkLst>
          <pc:docMk/>
          <pc:sldMk cId="1546475425" sldId="287"/>
        </pc:sldMkLst>
        <pc:picChg chg="del">
          <ac:chgData name="Roberto Gallardo" userId="49a044883f185952" providerId="LiveId" clId="{F9AB91B2-BAF9-4239-B4B5-87EA66B6F649}" dt="2023-02-06T00:11:32.001" v="24" actId="478"/>
          <ac:picMkLst>
            <pc:docMk/>
            <pc:sldMk cId="1546475425" sldId="287"/>
            <ac:picMk id="8" creationId="{CAA855F8-29C0-6C54-C3A3-891AD3FBAC60}"/>
          </ac:picMkLst>
        </pc:picChg>
      </pc:sldChg>
      <pc:sldChg chg="delSp mod">
        <pc:chgData name="Roberto Gallardo" userId="49a044883f185952" providerId="LiveId" clId="{F9AB91B2-BAF9-4239-B4B5-87EA66B6F649}" dt="2023-02-06T00:11:41.014" v="26" actId="478"/>
        <pc:sldMkLst>
          <pc:docMk/>
          <pc:sldMk cId="1380517306" sldId="288"/>
        </pc:sldMkLst>
        <pc:picChg chg="del">
          <ac:chgData name="Roberto Gallardo" userId="49a044883f185952" providerId="LiveId" clId="{F9AB91B2-BAF9-4239-B4B5-87EA66B6F649}" dt="2023-02-06T00:11:41.014" v="26" actId="478"/>
          <ac:picMkLst>
            <pc:docMk/>
            <pc:sldMk cId="1380517306" sldId="288"/>
            <ac:picMk id="8" creationId="{1269BCA3-CB6D-5913-CFF9-17C7374E8DE0}"/>
          </ac:picMkLst>
        </pc:picChg>
      </pc:sldChg>
      <pc:sldChg chg="delSp mod">
        <pc:chgData name="Roberto Gallardo" userId="49a044883f185952" providerId="LiveId" clId="{F9AB91B2-BAF9-4239-B4B5-87EA66B6F649}" dt="2023-02-06T00:11:44.255" v="27" actId="478"/>
        <pc:sldMkLst>
          <pc:docMk/>
          <pc:sldMk cId="1388671151" sldId="289"/>
        </pc:sldMkLst>
        <pc:picChg chg="del">
          <ac:chgData name="Roberto Gallardo" userId="49a044883f185952" providerId="LiveId" clId="{F9AB91B2-BAF9-4239-B4B5-87EA66B6F649}" dt="2023-02-06T00:11:44.255" v="27" actId="478"/>
          <ac:picMkLst>
            <pc:docMk/>
            <pc:sldMk cId="1388671151" sldId="289"/>
            <ac:picMk id="8" creationId="{6D17C1DE-5762-AC51-F9BA-92346D9A815C}"/>
          </ac:picMkLst>
        </pc:picChg>
      </pc:sldChg>
      <pc:sldChg chg="delSp mod">
        <pc:chgData name="Roberto Gallardo" userId="49a044883f185952" providerId="LiveId" clId="{F9AB91B2-BAF9-4239-B4B5-87EA66B6F649}" dt="2023-02-06T00:11:52.500" v="29" actId="478"/>
        <pc:sldMkLst>
          <pc:docMk/>
          <pc:sldMk cId="2355376039" sldId="290"/>
        </pc:sldMkLst>
        <pc:picChg chg="del">
          <ac:chgData name="Roberto Gallardo" userId="49a044883f185952" providerId="LiveId" clId="{F9AB91B2-BAF9-4239-B4B5-87EA66B6F649}" dt="2023-02-06T00:11:52.500" v="29" actId="478"/>
          <ac:picMkLst>
            <pc:docMk/>
            <pc:sldMk cId="2355376039" sldId="290"/>
            <ac:picMk id="8" creationId="{5DA0350F-FE6D-53CB-2AFD-AA6A8980488E}"/>
          </ac:picMkLst>
        </pc:picChg>
      </pc:sldChg>
      <pc:sldChg chg="delSp mod">
        <pc:chgData name="Roberto Gallardo" userId="49a044883f185952" providerId="LiveId" clId="{F9AB91B2-BAF9-4239-B4B5-87EA66B6F649}" dt="2023-02-06T00:11:55.742" v="30" actId="478"/>
        <pc:sldMkLst>
          <pc:docMk/>
          <pc:sldMk cId="3757257295" sldId="291"/>
        </pc:sldMkLst>
        <pc:picChg chg="del">
          <ac:chgData name="Roberto Gallardo" userId="49a044883f185952" providerId="LiveId" clId="{F9AB91B2-BAF9-4239-B4B5-87EA66B6F649}" dt="2023-02-06T00:11:55.742" v="30" actId="478"/>
          <ac:picMkLst>
            <pc:docMk/>
            <pc:sldMk cId="3757257295" sldId="291"/>
            <ac:picMk id="8" creationId="{AEE7ABCB-D0B0-3A13-45A8-D2CBAAA77EA6}"/>
          </ac:picMkLst>
        </pc:picChg>
      </pc:sldChg>
      <pc:sldChg chg="delSp mod">
        <pc:chgData name="Roberto Gallardo" userId="49a044883f185952" providerId="LiveId" clId="{F9AB91B2-BAF9-4239-B4B5-87EA66B6F649}" dt="2023-02-06T00:11:36.278" v="25" actId="478"/>
        <pc:sldMkLst>
          <pc:docMk/>
          <pc:sldMk cId="1259856727" sldId="292"/>
        </pc:sldMkLst>
        <pc:picChg chg="del">
          <ac:chgData name="Roberto Gallardo" userId="49a044883f185952" providerId="LiveId" clId="{F9AB91B2-BAF9-4239-B4B5-87EA66B6F649}" dt="2023-02-06T00:11:36.278" v="25" actId="478"/>
          <ac:picMkLst>
            <pc:docMk/>
            <pc:sldMk cId="1259856727" sldId="292"/>
            <ac:picMk id="8" creationId="{CF00FD28-5E38-7692-A3B9-F2069E86DAA8}"/>
          </ac:picMkLst>
        </pc:picChg>
      </pc:sldChg>
      <pc:sldChg chg="delSp mod">
        <pc:chgData name="Roberto Gallardo" userId="49a044883f185952" providerId="LiveId" clId="{F9AB91B2-BAF9-4239-B4B5-87EA66B6F649}" dt="2023-02-06T00:11:04.485" v="17" actId="478"/>
        <pc:sldMkLst>
          <pc:docMk/>
          <pc:sldMk cId="3324519687" sldId="293"/>
        </pc:sldMkLst>
        <pc:picChg chg="del">
          <ac:chgData name="Roberto Gallardo" userId="49a044883f185952" providerId="LiveId" clId="{F9AB91B2-BAF9-4239-B4B5-87EA66B6F649}" dt="2023-02-06T00:11:04.485" v="17" actId="478"/>
          <ac:picMkLst>
            <pc:docMk/>
            <pc:sldMk cId="3324519687" sldId="293"/>
            <ac:picMk id="9" creationId="{857220EB-001E-BBC5-093B-8C24596738CE}"/>
          </ac:picMkLst>
        </pc:picChg>
      </pc:sldChg>
      <pc:sldChg chg="delSp mod">
        <pc:chgData name="Roberto Gallardo" userId="49a044883f185952" providerId="LiveId" clId="{F9AB91B2-BAF9-4239-B4B5-87EA66B6F649}" dt="2023-02-06T00:10:54.672" v="15" actId="478"/>
        <pc:sldMkLst>
          <pc:docMk/>
          <pc:sldMk cId="3256182630" sldId="295"/>
        </pc:sldMkLst>
        <pc:picChg chg="del">
          <ac:chgData name="Roberto Gallardo" userId="49a044883f185952" providerId="LiveId" clId="{F9AB91B2-BAF9-4239-B4B5-87EA66B6F649}" dt="2023-02-06T00:10:54.672" v="15" actId="478"/>
          <ac:picMkLst>
            <pc:docMk/>
            <pc:sldMk cId="3256182630" sldId="295"/>
            <ac:picMk id="6" creationId="{93D8D6F0-D0A9-FCE5-B024-33062FB98A83}"/>
          </ac:picMkLst>
        </pc:picChg>
      </pc:sldChg>
      <pc:sldChg chg="delSp mod">
        <pc:chgData name="Roberto Gallardo" userId="49a044883f185952" providerId="LiveId" clId="{F9AB91B2-BAF9-4239-B4B5-87EA66B6F649}" dt="2023-02-06T00:10:58.939" v="16" actId="478"/>
        <pc:sldMkLst>
          <pc:docMk/>
          <pc:sldMk cId="4057156843" sldId="296"/>
        </pc:sldMkLst>
        <pc:picChg chg="del">
          <ac:chgData name="Roberto Gallardo" userId="49a044883f185952" providerId="LiveId" clId="{F9AB91B2-BAF9-4239-B4B5-87EA66B6F649}" dt="2023-02-06T00:10:58.939" v="16" actId="478"/>
          <ac:picMkLst>
            <pc:docMk/>
            <pc:sldMk cId="4057156843" sldId="296"/>
            <ac:picMk id="7" creationId="{98D345FF-36E0-779A-A6AA-657BDCF6BCE3}"/>
          </ac:picMkLst>
        </pc:picChg>
      </pc:sldChg>
      <pc:sldChg chg="delSp mod">
        <pc:chgData name="Roberto Gallardo" userId="49a044883f185952" providerId="LiveId" clId="{F9AB91B2-BAF9-4239-B4B5-87EA66B6F649}" dt="2023-02-06T00:10:51.285" v="14" actId="478"/>
        <pc:sldMkLst>
          <pc:docMk/>
          <pc:sldMk cId="2080110827" sldId="297"/>
        </pc:sldMkLst>
        <pc:picChg chg="del">
          <ac:chgData name="Roberto Gallardo" userId="49a044883f185952" providerId="LiveId" clId="{F9AB91B2-BAF9-4239-B4B5-87EA66B6F649}" dt="2023-02-06T00:10:51.285" v="14" actId="478"/>
          <ac:picMkLst>
            <pc:docMk/>
            <pc:sldMk cId="2080110827" sldId="297"/>
            <ac:picMk id="7" creationId="{FA7AA24C-289D-D5F1-A79D-1877B250B48C}"/>
          </ac:picMkLst>
        </pc:picChg>
      </pc:sldChg>
      <pc:sldChg chg="delSp mod">
        <pc:chgData name="Roberto Gallardo" userId="49a044883f185952" providerId="LiveId" clId="{F9AB91B2-BAF9-4239-B4B5-87EA66B6F649}" dt="2023-02-06T00:10:47.418" v="13" actId="478"/>
        <pc:sldMkLst>
          <pc:docMk/>
          <pc:sldMk cId="1532666867" sldId="298"/>
        </pc:sldMkLst>
        <pc:picChg chg="del">
          <ac:chgData name="Roberto Gallardo" userId="49a044883f185952" providerId="LiveId" clId="{F9AB91B2-BAF9-4239-B4B5-87EA66B6F649}" dt="2023-02-06T00:10:47.418" v="13" actId="478"/>
          <ac:picMkLst>
            <pc:docMk/>
            <pc:sldMk cId="1532666867" sldId="298"/>
            <ac:picMk id="6" creationId="{DF76BE9D-2515-C01B-6750-0A70245BBEC0}"/>
          </ac:picMkLst>
        </pc:picChg>
      </pc:sldChg>
      <pc:sldChg chg="delSp mod">
        <pc:chgData name="Roberto Gallardo" userId="49a044883f185952" providerId="LiveId" clId="{F9AB91B2-BAF9-4239-B4B5-87EA66B6F649}" dt="2023-02-06T00:11:47.811" v="28" actId="478"/>
        <pc:sldMkLst>
          <pc:docMk/>
          <pc:sldMk cId="1951376777" sldId="299"/>
        </pc:sldMkLst>
        <pc:picChg chg="del">
          <ac:chgData name="Roberto Gallardo" userId="49a044883f185952" providerId="LiveId" clId="{F9AB91B2-BAF9-4239-B4B5-87EA66B6F649}" dt="2023-02-06T00:11:47.811" v="28" actId="478"/>
          <ac:picMkLst>
            <pc:docMk/>
            <pc:sldMk cId="1951376777" sldId="299"/>
            <ac:picMk id="5" creationId="{B3B698FB-4AEA-CDBC-DBD6-2BFDA8D589E3}"/>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8.xml"/><Relationship Id="rId1" Type="http://schemas.microsoft.com/office/2011/relationships/chartStyle" Target="style28.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0.xml"/><Relationship Id="rId1" Type="http://schemas.microsoft.com/office/2011/relationships/chartStyle" Target="style30.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United States</c:v>
                </c:pt>
              </c:strCache>
            </c:strRef>
          </c:tx>
          <c:spPr>
            <a:ln w="38100" cap="rnd">
              <a:solidFill>
                <a:schemeClr val="accent1"/>
              </a:solidFill>
              <a:round/>
            </a:ln>
            <a:effectLst/>
          </c:spPr>
          <c:marker>
            <c:symbol val="none"/>
          </c:marker>
          <c:cat>
            <c:numRef>
              <c:f>Sheet1!$A$2:$A$33</c:f>
              <c:numCache>
                <c:formatCode>General</c:formatCode>
                <c:ptCount val="32"/>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numCache>
            </c:numRef>
          </c:cat>
          <c:val>
            <c:numRef>
              <c:f>Sheet1!$B$2:$B$33</c:f>
              <c:numCache>
                <c:formatCode>0.00</c:formatCode>
                <c:ptCount val="32"/>
                <c:pt idx="0" formatCode="#,##0.00;[Red]#,##0.00">
                  <c:v>1</c:v>
                </c:pt>
                <c:pt idx="1">
                  <c:v>1.0168597473444223</c:v>
                </c:pt>
                <c:pt idx="2">
                  <c:v>1.0310625322888316</c:v>
                </c:pt>
                <c:pt idx="3">
                  <c:v>1.0447467263306138</c:v>
                </c:pt>
                <c:pt idx="4">
                  <c:v>1.0576386117440195</c:v>
                </c:pt>
                <c:pt idx="5">
                  <c:v>1.0703107865886772</c:v>
                </c:pt>
                <c:pt idx="6">
                  <c:v>1.0828353461584226</c:v>
                </c:pt>
                <c:pt idx="7">
                  <c:v>1.0959097971466905</c:v>
                </c:pt>
                <c:pt idx="8">
                  <c:v>1.1088016705013384</c:v>
                </c:pt>
                <c:pt idx="9">
                  <c:v>1.1216083447119103</c:v>
                </c:pt>
                <c:pt idx="10">
                  <c:v>1.1341633928411865</c:v>
                </c:pt>
                <c:pt idx="11">
                  <c:v>1.145755046704735</c:v>
                </c:pt>
                <c:pt idx="12">
                  <c:v>1.1565919710490769</c:v>
                </c:pt>
                <c:pt idx="13">
                  <c:v>1.166626662407299</c:v>
                </c:pt>
                <c:pt idx="14">
                  <c:v>1.17745582091156</c:v>
                </c:pt>
                <c:pt idx="15">
                  <c:v>1.1882376809477919</c:v>
                </c:pt>
                <c:pt idx="16">
                  <c:v>1.199546110764788</c:v>
                </c:pt>
                <c:pt idx="17">
                  <c:v>1.2114513687055988</c:v>
                </c:pt>
                <c:pt idx="18">
                  <c:v>1.222640959463593</c:v>
                </c:pt>
                <c:pt idx="19">
                  <c:v>1.2326048980696911</c:v>
                </c:pt>
                <c:pt idx="20">
                  <c:v>1.2433450267644532</c:v>
                </c:pt>
                <c:pt idx="21">
                  <c:v>1.2523296374660655</c:v>
                </c:pt>
                <c:pt idx="22">
                  <c:v>1.2614706422183335</c:v>
                </c:pt>
                <c:pt idx="23">
                  <c:v>1.2701639012705759</c:v>
                </c:pt>
                <c:pt idx="24">
                  <c:v>1.2794382638263446</c:v>
                </c:pt>
                <c:pt idx="25">
                  <c:v>1.2888206005002567</c:v>
                </c:pt>
                <c:pt idx="26">
                  <c:v>1.2980903606300978</c:v>
                </c:pt>
                <c:pt idx="27">
                  <c:v>1.3063073108044598</c:v>
                </c:pt>
                <c:pt idx="28">
                  <c:v>1.3131484933695443</c:v>
                </c:pt>
                <c:pt idx="29">
                  <c:v>1.3193869792153079</c:v>
                </c:pt>
                <c:pt idx="30">
                  <c:v>1.3324970879506552</c:v>
                </c:pt>
                <c:pt idx="31">
                  <c:v>1.3340754386728915</c:v>
                </c:pt>
              </c:numCache>
            </c:numRef>
          </c:val>
          <c:smooth val="0"/>
          <c:extLst>
            <c:ext xmlns:c16="http://schemas.microsoft.com/office/drawing/2014/chart" uri="{C3380CC4-5D6E-409C-BE32-E72D297353CC}">
              <c16:uniqueId val="{00000000-DB59-4D1E-94C4-FDDF6616C3B1}"/>
            </c:ext>
          </c:extLst>
        </c:ser>
        <c:ser>
          <c:idx val="1"/>
          <c:order val="1"/>
          <c:tx>
            <c:strRef>
              <c:f>Sheet1!$C$1</c:f>
              <c:strCache>
                <c:ptCount val="1"/>
                <c:pt idx="0">
                  <c:v>North Carolina</c:v>
                </c:pt>
              </c:strCache>
            </c:strRef>
          </c:tx>
          <c:spPr>
            <a:ln w="38100" cap="rnd">
              <a:solidFill>
                <a:schemeClr val="accent2"/>
              </a:solidFill>
              <a:round/>
            </a:ln>
            <a:effectLst/>
          </c:spPr>
          <c:marker>
            <c:symbol val="none"/>
          </c:marker>
          <c:cat>
            <c:numRef>
              <c:f>Sheet1!$A$2:$A$33</c:f>
              <c:numCache>
                <c:formatCode>General</c:formatCode>
                <c:ptCount val="32"/>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numCache>
            </c:numRef>
          </c:cat>
          <c:val>
            <c:numRef>
              <c:f>Sheet1!$C$2:$C$33</c:f>
              <c:numCache>
                <c:formatCode>0.00</c:formatCode>
                <c:ptCount val="32"/>
                <c:pt idx="0" formatCode="#,##0.00;[Red]#,##0.00">
                  <c:v>1</c:v>
                </c:pt>
                <c:pt idx="1">
                  <c:v>1.0228923016056817</c:v>
                </c:pt>
                <c:pt idx="2">
                  <c:v>1.0399198003512429</c:v>
                </c:pt>
                <c:pt idx="3">
                  <c:v>1.0618730821560909</c:v>
                </c:pt>
                <c:pt idx="4">
                  <c:v>1.0836719714952909</c:v>
                </c:pt>
                <c:pt idx="5">
                  <c:v>1.107385086170295</c:v>
                </c:pt>
                <c:pt idx="6">
                  <c:v>1.1309052102632391</c:v>
                </c:pt>
                <c:pt idx="7">
                  <c:v>1.1544493074050486</c:v>
                </c:pt>
                <c:pt idx="8">
                  <c:v>1.177411568096727</c:v>
                </c:pt>
                <c:pt idx="9">
                  <c:v>1.1985560987436312</c:v>
                </c:pt>
                <c:pt idx="10">
                  <c:v>1.2182911950459319</c:v>
                </c:pt>
                <c:pt idx="11">
                  <c:v>1.2367180262853172</c:v>
                </c:pt>
                <c:pt idx="12">
                  <c:v>1.2530976496159487</c:v>
                </c:pt>
                <c:pt idx="13">
                  <c:v>1.266472801596032</c:v>
                </c:pt>
                <c:pt idx="14">
                  <c:v>1.284278293625521</c:v>
                </c:pt>
                <c:pt idx="15">
                  <c:v>1.3050104576771653</c:v>
                </c:pt>
                <c:pt idx="16">
                  <c:v>1.3349292749826309</c:v>
                </c:pt>
                <c:pt idx="17">
                  <c:v>1.3641804654932839</c:v>
                </c:pt>
                <c:pt idx="18">
                  <c:v>1.3916559918750966</c:v>
                </c:pt>
                <c:pt idx="19">
                  <c:v>1.410807442440559</c:v>
                </c:pt>
                <c:pt idx="20">
                  <c:v>1.4435579442160722</c:v>
                </c:pt>
                <c:pt idx="21">
                  <c:v>1.4561127354485102</c:v>
                </c:pt>
                <c:pt idx="22">
                  <c:v>1.4699664437625444</c:v>
                </c:pt>
                <c:pt idx="23">
                  <c:v>1.4841180812876331</c:v>
                </c:pt>
                <c:pt idx="24">
                  <c:v>1.4976200341110855</c:v>
                </c:pt>
                <c:pt idx="25">
                  <c:v>1.5125103129342288</c:v>
                </c:pt>
                <c:pt idx="26">
                  <c:v>1.5310769115717153</c:v>
                </c:pt>
                <c:pt idx="27">
                  <c:v>1.5481814557762081</c:v>
                </c:pt>
                <c:pt idx="28">
                  <c:v>1.5652765012254901</c:v>
                </c:pt>
                <c:pt idx="29">
                  <c:v>1.5813292467577582</c:v>
                </c:pt>
                <c:pt idx="30">
                  <c:v>1.5766692780704801</c:v>
                </c:pt>
                <c:pt idx="31">
                  <c:v>1.5908397623320982</c:v>
                </c:pt>
              </c:numCache>
            </c:numRef>
          </c:val>
          <c:smooth val="0"/>
          <c:extLst>
            <c:ext xmlns:c16="http://schemas.microsoft.com/office/drawing/2014/chart" uri="{C3380CC4-5D6E-409C-BE32-E72D297353CC}">
              <c16:uniqueId val="{00000001-DB59-4D1E-94C4-FDDF6616C3B1}"/>
            </c:ext>
          </c:extLst>
        </c:ser>
        <c:ser>
          <c:idx val="2"/>
          <c:order val="2"/>
          <c:tx>
            <c:strRef>
              <c:f>Sheet1!$D$1</c:f>
              <c:strCache>
                <c:ptCount val="1"/>
                <c:pt idx="0">
                  <c:v>Kerr-Tar</c:v>
                </c:pt>
              </c:strCache>
            </c:strRef>
          </c:tx>
          <c:spPr>
            <a:ln w="38100" cap="rnd">
              <a:solidFill>
                <a:schemeClr val="accent3"/>
              </a:solidFill>
              <a:round/>
            </a:ln>
            <a:effectLst/>
          </c:spPr>
          <c:marker>
            <c:symbol val="none"/>
          </c:marker>
          <c:cat>
            <c:numRef>
              <c:f>Sheet1!$A$2:$A$33</c:f>
              <c:numCache>
                <c:formatCode>General</c:formatCode>
                <c:ptCount val="32"/>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numCache>
            </c:numRef>
          </c:cat>
          <c:val>
            <c:numRef>
              <c:f>Sheet1!$D$2:$D$33</c:f>
              <c:numCache>
                <c:formatCode>0.00</c:formatCode>
                <c:ptCount val="32"/>
                <c:pt idx="0">
                  <c:v>1</c:v>
                </c:pt>
                <c:pt idx="1">
                  <c:v>1.0180766270205845</c:v>
                </c:pt>
                <c:pt idx="2">
                  <c:v>1.0343157947011645</c:v>
                </c:pt>
                <c:pt idx="3">
                  <c:v>1.0538946688848607</c:v>
                </c:pt>
                <c:pt idx="4">
                  <c:v>1.0697241327936831</c:v>
                </c:pt>
                <c:pt idx="5">
                  <c:v>1.0935304049859706</c:v>
                </c:pt>
                <c:pt idx="6">
                  <c:v>1.1155985399647406</c:v>
                </c:pt>
                <c:pt idx="7">
                  <c:v>1.1366920765773596</c:v>
                </c:pt>
                <c:pt idx="8">
                  <c:v>1.1679226777245302</c:v>
                </c:pt>
                <c:pt idx="9">
                  <c:v>1.1885754724008641</c:v>
                </c:pt>
                <c:pt idx="10">
                  <c:v>1.21154371415092</c:v>
                </c:pt>
                <c:pt idx="11">
                  <c:v>1.2309673975119808</c:v>
                </c:pt>
                <c:pt idx="12">
                  <c:v>1.2542149827427804</c:v>
                </c:pt>
                <c:pt idx="13">
                  <c:v>1.2664067737690263</c:v>
                </c:pt>
                <c:pt idx="14">
                  <c:v>1.2745884339383706</c:v>
                </c:pt>
                <c:pt idx="15">
                  <c:v>1.2865753730787377</c:v>
                </c:pt>
                <c:pt idx="16">
                  <c:v>1.2995555334839719</c:v>
                </c:pt>
                <c:pt idx="17">
                  <c:v>1.3245412559282894</c:v>
                </c:pt>
                <c:pt idx="18">
                  <c:v>1.342897226429618</c:v>
                </c:pt>
                <c:pt idx="19">
                  <c:v>1.3543813473046458</c:v>
                </c:pt>
                <c:pt idx="20">
                  <c:v>1.39172025923075</c:v>
                </c:pt>
                <c:pt idx="21">
                  <c:v>1.3920927172050754</c:v>
                </c:pt>
                <c:pt idx="22">
                  <c:v>1.3904725250167607</c:v>
                </c:pt>
                <c:pt idx="23">
                  <c:v>1.3915402378764929</c:v>
                </c:pt>
                <c:pt idx="24">
                  <c:v>1.3948675291137984</c:v>
                </c:pt>
                <c:pt idx="25">
                  <c:v>1.4009758398927321</c:v>
                </c:pt>
                <c:pt idx="26">
                  <c:v>1.4091264618975492</c:v>
                </c:pt>
                <c:pt idx="27">
                  <c:v>1.4215168971767687</c:v>
                </c:pt>
                <c:pt idx="28">
                  <c:v>1.4370297718074143</c:v>
                </c:pt>
                <c:pt idx="29">
                  <c:v>1.4518660144513693</c:v>
                </c:pt>
                <c:pt idx="30">
                  <c:v>1.4300772229533434</c:v>
                </c:pt>
                <c:pt idx="31">
                  <c:v>1.4511148908698135</c:v>
                </c:pt>
              </c:numCache>
            </c:numRef>
          </c:val>
          <c:smooth val="0"/>
          <c:extLst>
            <c:ext xmlns:c16="http://schemas.microsoft.com/office/drawing/2014/chart" uri="{C3380CC4-5D6E-409C-BE32-E72D297353CC}">
              <c16:uniqueId val="{00000002-DB59-4D1E-94C4-FDDF6616C3B1}"/>
            </c:ext>
          </c:extLst>
        </c:ser>
        <c:dLbls>
          <c:showLegendKey val="0"/>
          <c:showVal val="0"/>
          <c:showCatName val="0"/>
          <c:showSerName val="0"/>
          <c:showPercent val="0"/>
          <c:showBubbleSize val="0"/>
        </c:dLbls>
        <c:smooth val="0"/>
        <c:axId val="979383072"/>
        <c:axId val="979383488"/>
      </c:lineChart>
      <c:catAx>
        <c:axId val="9793830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979383488"/>
        <c:crosses val="autoZero"/>
        <c:auto val="1"/>
        <c:lblAlgn val="ctr"/>
        <c:lblOffset val="100"/>
        <c:noMultiLvlLbl val="0"/>
      </c:catAx>
      <c:valAx>
        <c:axId val="979383488"/>
        <c:scaling>
          <c:orientation val="minMax"/>
          <c:min val="1"/>
        </c:scaling>
        <c:delete val="0"/>
        <c:axPos val="l"/>
        <c:majorGridlines>
          <c:spPr>
            <a:ln w="9525" cap="flat" cmpd="sng" algn="ctr">
              <a:solidFill>
                <a:schemeClr val="tx1">
                  <a:lumMod val="15000"/>
                  <a:lumOff val="85000"/>
                </a:schemeClr>
              </a:solidFill>
              <a:round/>
            </a:ln>
            <a:effectLst/>
          </c:spPr>
        </c:majorGridlines>
        <c:numFmt formatCode="#,##0.00;[Red]#,##0.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0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Warren</c:v>
                </c:pt>
                <c:pt idx="1">
                  <c:v>Vance</c:v>
                </c:pt>
                <c:pt idx="2">
                  <c:v>Person</c:v>
                </c:pt>
                <c:pt idx="3">
                  <c:v>Granville</c:v>
                </c:pt>
                <c:pt idx="4">
                  <c:v>Franklin</c:v>
                </c:pt>
                <c:pt idx="5">
                  <c:v>Kerr-Tar</c:v>
                </c:pt>
                <c:pt idx="6">
                  <c:v>North Carolina</c:v>
                </c:pt>
                <c:pt idx="7">
                  <c:v>United States</c:v>
                </c:pt>
              </c:strCache>
            </c:strRef>
          </c:cat>
          <c:val>
            <c:numRef>
              <c:f>Sheet1!$B$2:$B$9</c:f>
              <c:numCache>
                <c:formatCode>0.0</c:formatCode>
                <c:ptCount val="8"/>
                <c:pt idx="0">
                  <c:v>1.4161570646926296</c:v>
                </c:pt>
                <c:pt idx="1">
                  <c:v>3.6192399830898587</c:v>
                </c:pt>
                <c:pt idx="2">
                  <c:v>6.1130009975189914</c:v>
                </c:pt>
                <c:pt idx="3">
                  <c:v>8.4396200814111246</c:v>
                </c:pt>
                <c:pt idx="4">
                  <c:v>25.346710804544063</c:v>
                </c:pt>
                <c:pt idx="5">
                  <c:v>11.7</c:v>
                </c:pt>
                <c:pt idx="6">
                  <c:v>50.9</c:v>
                </c:pt>
                <c:pt idx="7">
                  <c:v>56.7</c:v>
                </c:pt>
              </c:numCache>
            </c:numRef>
          </c:val>
          <c:extLst>
            <c:ext xmlns:c16="http://schemas.microsoft.com/office/drawing/2014/chart" uri="{C3380CC4-5D6E-409C-BE32-E72D297353CC}">
              <c16:uniqueId val="{00000000-532E-4707-A74F-D0431835BB1C}"/>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Warren</c:v>
                </c:pt>
                <c:pt idx="1">
                  <c:v>Vance</c:v>
                </c:pt>
                <c:pt idx="2">
                  <c:v>Person</c:v>
                </c:pt>
                <c:pt idx="3">
                  <c:v>Granville</c:v>
                </c:pt>
                <c:pt idx="4">
                  <c:v>Franklin</c:v>
                </c:pt>
                <c:pt idx="5">
                  <c:v>Kerr-Tar</c:v>
                </c:pt>
                <c:pt idx="6">
                  <c:v>North Carolina</c:v>
                </c:pt>
                <c:pt idx="7">
                  <c:v>United States</c:v>
                </c:pt>
              </c:strCache>
            </c:strRef>
          </c:cat>
          <c:val>
            <c:numRef>
              <c:f>Sheet1!$B$2:$B$9</c:f>
              <c:numCache>
                <c:formatCode>0.0</c:formatCode>
                <c:ptCount val="8"/>
                <c:pt idx="0">
                  <c:v>0.47205235489754316</c:v>
                </c:pt>
                <c:pt idx="1">
                  <c:v>0.53313917985814274</c:v>
                </c:pt>
                <c:pt idx="2">
                  <c:v>0.93869094815458998</c:v>
                </c:pt>
                <c:pt idx="3">
                  <c:v>0.10685210312075984</c:v>
                </c:pt>
                <c:pt idx="4">
                  <c:v>2.7503536377291353</c:v>
                </c:pt>
                <c:pt idx="5">
                  <c:v>1.2</c:v>
                </c:pt>
                <c:pt idx="6">
                  <c:v>18</c:v>
                </c:pt>
                <c:pt idx="7">
                  <c:v>16</c:v>
                </c:pt>
              </c:numCache>
            </c:numRef>
          </c:val>
          <c:extLst>
            <c:ext xmlns:c16="http://schemas.microsoft.com/office/drawing/2014/chart" uri="{C3380CC4-5D6E-409C-BE32-E72D297353CC}">
              <c16:uniqueId val="{00000000-532E-4707-A74F-D0431835BB1C}"/>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Warren</c:v>
                </c:pt>
                <c:pt idx="1">
                  <c:v>Vance</c:v>
                </c:pt>
                <c:pt idx="2">
                  <c:v>Person</c:v>
                </c:pt>
                <c:pt idx="3">
                  <c:v>Granville</c:v>
                </c:pt>
                <c:pt idx="4">
                  <c:v>Franklin</c:v>
                </c:pt>
                <c:pt idx="5">
                  <c:v>Kerr-Tar</c:v>
                </c:pt>
                <c:pt idx="6">
                  <c:v>North Carolina</c:v>
                </c:pt>
                <c:pt idx="7">
                  <c:v>United States</c:v>
                </c:pt>
              </c:strCache>
            </c:strRef>
          </c:cat>
          <c:val>
            <c:numRef>
              <c:f>Sheet1!$B$2:$B$9</c:f>
              <c:numCache>
                <c:formatCode>0.0</c:formatCode>
                <c:ptCount val="8"/>
                <c:pt idx="0">
                  <c:v>88.472266924149764</c:v>
                </c:pt>
                <c:pt idx="1">
                  <c:v>59.645826483160313</c:v>
                </c:pt>
                <c:pt idx="2">
                  <c:v>79.604573240913624</c:v>
                </c:pt>
                <c:pt idx="3">
                  <c:v>72.045514165792241</c:v>
                </c:pt>
                <c:pt idx="4">
                  <c:v>77.170314846951428</c:v>
                </c:pt>
                <c:pt idx="5">
                  <c:v>73.900000000000006</c:v>
                </c:pt>
                <c:pt idx="6">
                  <c:v>40.700000000000003</c:v>
                </c:pt>
                <c:pt idx="7">
                  <c:v>23.4</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Warren</c:v>
                </c:pt>
                <c:pt idx="1">
                  <c:v>Vance</c:v>
                </c:pt>
                <c:pt idx="2">
                  <c:v>Person</c:v>
                </c:pt>
                <c:pt idx="3">
                  <c:v>Granville</c:v>
                </c:pt>
                <c:pt idx="4">
                  <c:v>Franklin</c:v>
                </c:pt>
                <c:pt idx="5">
                  <c:v>Kerr-Tar</c:v>
                </c:pt>
                <c:pt idx="6">
                  <c:v>North Carolina</c:v>
                </c:pt>
                <c:pt idx="7">
                  <c:v>United States</c:v>
                </c:pt>
              </c:strCache>
            </c:strRef>
          </c:cat>
          <c:val>
            <c:numRef>
              <c:f>Sheet1!$B$2:$B$9</c:f>
              <c:numCache>
                <c:formatCode>0.0</c:formatCode>
                <c:ptCount val="8"/>
                <c:pt idx="0">
                  <c:v>20.874641991628113</c:v>
                </c:pt>
                <c:pt idx="1">
                  <c:v>18.214716525934861</c:v>
                </c:pt>
                <c:pt idx="2">
                  <c:v>20.069821567106281</c:v>
                </c:pt>
                <c:pt idx="3">
                  <c:v>15.540993756772096</c:v>
                </c:pt>
                <c:pt idx="4">
                  <c:v>16.415453007828287</c:v>
                </c:pt>
                <c:pt idx="5">
                  <c:v>17.5</c:v>
                </c:pt>
                <c:pt idx="6">
                  <c:v>13.2</c:v>
                </c:pt>
                <c:pt idx="7">
                  <c:v>12.6</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Warren</c:v>
                </c:pt>
                <c:pt idx="1">
                  <c:v>Vance</c:v>
                </c:pt>
                <c:pt idx="2">
                  <c:v>Person</c:v>
                </c:pt>
                <c:pt idx="3">
                  <c:v>Granville</c:v>
                </c:pt>
                <c:pt idx="4">
                  <c:v>Franklin</c:v>
                </c:pt>
                <c:pt idx="5">
                  <c:v>Kerr-Tar</c:v>
                </c:pt>
                <c:pt idx="6">
                  <c:v>North Carolina</c:v>
                </c:pt>
                <c:pt idx="7">
                  <c:v>United States</c:v>
                </c:pt>
              </c:strCache>
            </c:strRef>
          </c:cat>
          <c:val>
            <c:numRef>
              <c:f>Sheet1!$B$2:$B$9</c:f>
              <c:numCache>
                <c:formatCode>0.0</c:formatCode>
                <c:ptCount val="8"/>
                <c:pt idx="0">
                  <c:v>8.0846656741536673</c:v>
                </c:pt>
                <c:pt idx="1">
                  <c:v>6.7232074016962224</c:v>
                </c:pt>
                <c:pt idx="2">
                  <c:v>7.4036840057076141</c:v>
                </c:pt>
                <c:pt idx="3">
                  <c:v>7.5743763984420314</c:v>
                </c:pt>
                <c:pt idx="4">
                  <c:v>8.021126225397067</c:v>
                </c:pt>
                <c:pt idx="5">
                  <c:v>7.6</c:v>
                </c:pt>
                <c:pt idx="6">
                  <c:v>8</c:v>
                </c:pt>
                <c:pt idx="7">
                  <c:v>6.9</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Warren</c:v>
                </c:pt>
                <c:pt idx="1">
                  <c:v>Vance</c:v>
                </c:pt>
                <c:pt idx="2">
                  <c:v>Person</c:v>
                </c:pt>
                <c:pt idx="3">
                  <c:v>Granville</c:v>
                </c:pt>
                <c:pt idx="4">
                  <c:v>Franklin</c:v>
                </c:pt>
                <c:pt idx="5">
                  <c:v>Kerr-Tar</c:v>
                </c:pt>
                <c:pt idx="6">
                  <c:v>North Carolina</c:v>
                </c:pt>
                <c:pt idx="7">
                  <c:v>United States</c:v>
                </c:pt>
              </c:strCache>
            </c:strRef>
          </c:cat>
          <c:val>
            <c:numRef>
              <c:f>Sheet1!$B$2:$B$9</c:f>
              <c:numCache>
                <c:formatCode>0.0</c:formatCode>
                <c:ptCount val="8"/>
                <c:pt idx="0">
                  <c:v>62.306104081740692</c:v>
                </c:pt>
                <c:pt idx="1">
                  <c:v>61.516998827667059</c:v>
                </c:pt>
                <c:pt idx="2">
                  <c:v>34.159850252570578</c:v>
                </c:pt>
                <c:pt idx="3">
                  <c:v>42.955269990468992</c:v>
                </c:pt>
                <c:pt idx="4">
                  <c:v>37.153466078878076</c:v>
                </c:pt>
                <c:pt idx="5">
                  <c:v>44.8</c:v>
                </c:pt>
                <c:pt idx="6">
                  <c:v>37.9</c:v>
                </c:pt>
                <c:pt idx="7">
                  <c:v>40.6</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Warren</c:v>
                </c:pt>
                <c:pt idx="1">
                  <c:v>Vance</c:v>
                </c:pt>
                <c:pt idx="2">
                  <c:v>Person</c:v>
                </c:pt>
                <c:pt idx="3">
                  <c:v>Granville</c:v>
                </c:pt>
                <c:pt idx="4">
                  <c:v>Franklin</c:v>
                </c:pt>
                <c:pt idx="5">
                  <c:v>Kerr-Tar</c:v>
                </c:pt>
                <c:pt idx="6">
                  <c:v>North Carolina</c:v>
                </c:pt>
                <c:pt idx="7">
                  <c:v>United States</c:v>
                </c:pt>
              </c:strCache>
            </c:strRef>
          </c:cat>
          <c:val>
            <c:numRef>
              <c:f>Sheet1!$B$2:$B$9</c:f>
              <c:numCache>
                <c:formatCode>0.0</c:formatCode>
                <c:ptCount val="8"/>
                <c:pt idx="0">
                  <c:v>19.350749559082892</c:v>
                </c:pt>
                <c:pt idx="1">
                  <c:v>19.447932709394621</c:v>
                </c:pt>
                <c:pt idx="2">
                  <c:v>18.318279458578122</c:v>
                </c:pt>
                <c:pt idx="3">
                  <c:v>14.367548354814778</c:v>
                </c:pt>
                <c:pt idx="4">
                  <c:v>11.308147005911078</c:v>
                </c:pt>
                <c:pt idx="5">
                  <c:v>15.5</c:v>
                </c:pt>
                <c:pt idx="6">
                  <c:v>13.7</c:v>
                </c:pt>
                <c:pt idx="7">
                  <c:v>12.6</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Warren</c:v>
                </c:pt>
                <c:pt idx="1">
                  <c:v>Vance</c:v>
                </c:pt>
                <c:pt idx="2">
                  <c:v>Person</c:v>
                </c:pt>
                <c:pt idx="3">
                  <c:v>Granville</c:v>
                </c:pt>
                <c:pt idx="4">
                  <c:v>Franklin</c:v>
                </c:pt>
                <c:pt idx="5">
                  <c:v>Kerr-Tar</c:v>
                </c:pt>
                <c:pt idx="6">
                  <c:v>North Carolina</c:v>
                </c:pt>
                <c:pt idx="7">
                  <c:v>United States</c:v>
                </c:pt>
              </c:strCache>
            </c:strRef>
          </c:cat>
          <c:val>
            <c:numRef>
              <c:f>Sheet1!$B$2:$B$9</c:f>
              <c:numCache>
                <c:formatCode>0.0</c:formatCode>
                <c:ptCount val="8"/>
                <c:pt idx="0">
                  <c:v>57.283184696910951</c:v>
                </c:pt>
                <c:pt idx="1">
                  <c:v>45.956546099732307</c:v>
                </c:pt>
                <c:pt idx="2">
                  <c:v>48.314183462045584</c:v>
                </c:pt>
                <c:pt idx="3">
                  <c:v>42.878099564641303</c:v>
                </c:pt>
                <c:pt idx="4">
                  <c:v>43.618733561025394</c:v>
                </c:pt>
                <c:pt idx="5">
                  <c:v>46</c:v>
                </c:pt>
                <c:pt idx="6">
                  <c:v>39.700000000000003</c:v>
                </c:pt>
                <c:pt idx="7">
                  <c:v>40.4</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Warren</c:v>
                </c:pt>
                <c:pt idx="1">
                  <c:v>Vance</c:v>
                </c:pt>
                <c:pt idx="2">
                  <c:v>Person</c:v>
                </c:pt>
                <c:pt idx="3">
                  <c:v>Granville</c:v>
                </c:pt>
                <c:pt idx="4">
                  <c:v>Franklin</c:v>
                </c:pt>
                <c:pt idx="5">
                  <c:v>Kerr-Tar</c:v>
                </c:pt>
                <c:pt idx="6">
                  <c:v>North Carolina</c:v>
                </c:pt>
                <c:pt idx="7">
                  <c:v>United States</c:v>
                </c:pt>
              </c:strCache>
            </c:strRef>
          </c:cat>
          <c:val>
            <c:numRef>
              <c:f>Sheet1!$B$2:$B$9</c:f>
              <c:numCache>
                <c:formatCode>0.0</c:formatCode>
                <c:ptCount val="8"/>
                <c:pt idx="0">
                  <c:v>23.506669251647928</c:v>
                </c:pt>
                <c:pt idx="1">
                  <c:v>32.031588121770532</c:v>
                </c:pt>
                <c:pt idx="2">
                  <c:v>26.746524769259743</c:v>
                </c:pt>
                <c:pt idx="3">
                  <c:v>30.751211432897975</c:v>
                </c:pt>
                <c:pt idx="4">
                  <c:v>31.619377379970949</c:v>
                </c:pt>
                <c:pt idx="5">
                  <c:v>29.9</c:v>
                </c:pt>
                <c:pt idx="6">
                  <c:v>30</c:v>
                </c:pt>
                <c:pt idx="7">
                  <c:v>30.6</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Warren</c:v>
                </c:pt>
                <c:pt idx="1">
                  <c:v>Vance</c:v>
                </c:pt>
                <c:pt idx="2">
                  <c:v>Person</c:v>
                </c:pt>
                <c:pt idx="3">
                  <c:v>Granville</c:v>
                </c:pt>
                <c:pt idx="4">
                  <c:v>Franklin</c:v>
                </c:pt>
                <c:pt idx="5">
                  <c:v>Kerr-Tar</c:v>
                </c:pt>
                <c:pt idx="6">
                  <c:v>North Carolina</c:v>
                </c:pt>
                <c:pt idx="7">
                  <c:v>United States</c:v>
                </c:pt>
              </c:strCache>
            </c:strRef>
          </c:cat>
          <c:val>
            <c:numRef>
              <c:f>Sheet1!$B$2:$B$9</c:f>
              <c:numCache>
                <c:formatCode>0.0</c:formatCode>
                <c:ptCount val="8"/>
                <c:pt idx="0">
                  <c:v>5.5060100814269095</c:v>
                </c:pt>
                <c:pt idx="1">
                  <c:v>7.1717611903131413</c:v>
                </c:pt>
                <c:pt idx="2">
                  <c:v>6.2598103848810194</c:v>
                </c:pt>
                <c:pt idx="3">
                  <c:v>8.0399394283551011</c:v>
                </c:pt>
                <c:pt idx="4">
                  <c:v>8.0712911710438497</c:v>
                </c:pt>
                <c:pt idx="5">
                  <c:v>7.3</c:v>
                </c:pt>
                <c:pt idx="6">
                  <c:v>12</c:v>
                </c:pt>
                <c:pt idx="7">
                  <c:v>22.1</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White, Non-Hispanic</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Kerr-Tar</c:v>
                </c:pt>
              </c:strCache>
            </c:strRef>
          </c:cat>
          <c:val>
            <c:numRef>
              <c:f>Sheet1!$B$2:$B$4</c:f>
              <c:numCache>
                <c:formatCode>#,##0.0</c:formatCode>
                <c:ptCount val="3"/>
                <c:pt idx="0">
                  <c:v>59.446533948645595</c:v>
                </c:pt>
                <c:pt idx="1">
                  <c:v>62.061419373856829</c:v>
                </c:pt>
                <c:pt idx="2">
                  <c:v>55.201973885322509</c:v>
                </c:pt>
              </c:numCache>
            </c:numRef>
          </c:val>
          <c:extLst>
            <c:ext xmlns:c16="http://schemas.microsoft.com/office/drawing/2014/chart" uri="{C3380CC4-5D6E-409C-BE32-E72D297353CC}">
              <c16:uniqueId val="{00000000-D199-47A7-AEEB-A6EADA37F0F5}"/>
            </c:ext>
          </c:extLst>
        </c:ser>
        <c:ser>
          <c:idx val="1"/>
          <c:order val="1"/>
          <c:tx>
            <c:strRef>
              <c:f>Sheet1!$C$1</c:f>
              <c:strCache>
                <c:ptCount val="1"/>
                <c:pt idx="0">
                  <c:v>Black, Non-Hispanic</c:v>
                </c:pt>
              </c:strCache>
            </c:strRef>
          </c:tx>
          <c:spPr>
            <a:solidFill>
              <a:schemeClr val="accent2"/>
            </a:solidFill>
            <a:ln>
              <a:noFill/>
            </a:ln>
            <a:effectLst/>
          </c:spPr>
          <c:invertIfNegative val="0"/>
          <c:dLbls>
            <c:dLbl>
              <c:idx val="2"/>
              <c:layout>
                <c:manualLayout>
                  <c:x val="-1.3057671381936888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2AC-4C0F-91E4-EC4375DD3006}"/>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Kerr-Tar</c:v>
                </c:pt>
              </c:strCache>
            </c:strRef>
          </c:cat>
          <c:val>
            <c:numRef>
              <c:f>Sheet1!$C$2:$C$4</c:f>
              <c:numCache>
                <c:formatCode>#,##0.0</c:formatCode>
                <c:ptCount val="3"/>
                <c:pt idx="0">
                  <c:v>12.190838839052297</c:v>
                </c:pt>
                <c:pt idx="1">
                  <c:v>20.840642568328686</c:v>
                </c:pt>
                <c:pt idx="2">
                  <c:v>32.019738853225036</c:v>
                </c:pt>
              </c:numCache>
            </c:numRef>
          </c:val>
          <c:extLst>
            <c:ext xmlns:c16="http://schemas.microsoft.com/office/drawing/2014/chart" uri="{C3380CC4-5D6E-409C-BE32-E72D297353CC}">
              <c16:uniqueId val="{00000001-D199-47A7-AEEB-A6EADA37F0F5}"/>
            </c:ext>
          </c:extLst>
        </c:ser>
        <c:ser>
          <c:idx val="2"/>
          <c:order val="2"/>
          <c:tx>
            <c:strRef>
              <c:f>Sheet1!$D$1</c:f>
              <c:strCache>
                <c:ptCount val="1"/>
                <c:pt idx="0">
                  <c:v>Asian, Non-Hispanic</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Kerr-Tar</c:v>
                </c:pt>
              </c:strCache>
            </c:strRef>
          </c:cat>
          <c:val>
            <c:numRef>
              <c:f>Sheet1!$D$2:$D$4</c:f>
              <c:numCache>
                <c:formatCode>#,##0.0</c:formatCode>
                <c:ptCount val="3"/>
                <c:pt idx="0">
                  <c:v>5.6273166828741399</c:v>
                </c:pt>
                <c:pt idx="1">
                  <c:v>3.0106138484127842</c:v>
                </c:pt>
                <c:pt idx="2">
                  <c:v>0.59041879558059296</c:v>
                </c:pt>
              </c:numCache>
            </c:numRef>
          </c:val>
          <c:extLst>
            <c:ext xmlns:c16="http://schemas.microsoft.com/office/drawing/2014/chart" uri="{C3380CC4-5D6E-409C-BE32-E72D297353CC}">
              <c16:uniqueId val="{00000002-D199-47A7-AEEB-A6EADA37F0F5}"/>
            </c:ext>
          </c:extLst>
        </c:ser>
        <c:ser>
          <c:idx val="3"/>
          <c:order val="3"/>
          <c:tx>
            <c:strRef>
              <c:f>Sheet1!$E$1</c:f>
              <c:strCache>
                <c:ptCount val="1"/>
                <c:pt idx="0">
                  <c:v>Hispanic</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Kerr-Tar</c:v>
                </c:pt>
              </c:strCache>
            </c:strRef>
          </c:cat>
          <c:val>
            <c:numRef>
              <c:f>Sheet1!$E$2:$E$4</c:f>
              <c:numCache>
                <c:formatCode>#,##0.0</c:formatCode>
                <c:ptCount val="3"/>
                <c:pt idx="0">
                  <c:v>18.441695441790866</c:v>
                </c:pt>
                <c:pt idx="1">
                  <c:v>9.8073487256031662</c:v>
                </c:pt>
                <c:pt idx="2">
                  <c:v>7.6125595004148661</c:v>
                </c:pt>
              </c:numCache>
            </c:numRef>
          </c:val>
          <c:extLst>
            <c:ext xmlns:c16="http://schemas.microsoft.com/office/drawing/2014/chart" uri="{C3380CC4-5D6E-409C-BE32-E72D297353CC}">
              <c16:uniqueId val="{00000003-D199-47A7-AEEB-A6EADA37F0F5}"/>
            </c:ext>
          </c:extLst>
        </c:ser>
        <c:ser>
          <c:idx val="4"/>
          <c:order val="4"/>
          <c:tx>
            <c:strRef>
              <c:f>Sheet1!$F$1</c:f>
              <c:strCache>
                <c:ptCount val="1"/>
                <c:pt idx="0">
                  <c:v>Other</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Kerr-Tar</c:v>
                </c:pt>
              </c:strCache>
            </c:strRef>
          </c:cat>
          <c:val>
            <c:numRef>
              <c:f>Sheet1!$F$2:$F$4</c:f>
              <c:numCache>
                <c:formatCode>#,##0.0</c:formatCode>
                <c:ptCount val="3"/>
                <c:pt idx="0">
                  <c:v>4.2936150876370931</c:v>
                </c:pt>
                <c:pt idx="1">
                  <c:v>4.2799754837985375</c:v>
                </c:pt>
                <c:pt idx="2">
                  <c:v>4.5753089654569976</c:v>
                </c:pt>
              </c:numCache>
            </c:numRef>
          </c:val>
          <c:extLst>
            <c:ext xmlns:c16="http://schemas.microsoft.com/office/drawing/2014/chart" uri="{C3380CC4-5D6E-409C-BE32-E72D297353CC}">
              <c16:uniqueId val="{00000004-D199-47A7-AEEB-A6EADA37F0F5}"/>
            </c:ext>
          </c:extLst>
        </c:ser>
        <c:dLbls>
          <c:showLegendKey val="0"/>
          <c:showVal val="0"/>
          <c:showCatName val="0"/>
          <c:showSerName val="0"/>
          <c:showPercent val="0"/>
          <c:showBubbleSize val="0"/>
        </c:dLbls>
        <c:gapWidth val="60"/>
        <c:overlap val="100"/>
        <c:axId val="979383072"/>
        <c:axId val="979383488"/>
      </c:barChart>
      <c:catAx>
        <c:axId val="97938307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488"/>
        <c:crosses val="autoZero"/>
        <c:auto val="1"/>
        <c:lblAlgn val="ctr"/>
        <c:lblOffset val="100"/>
        <c:noMultiLvlLbl val="0"/>
      </c:catAx>
      <c:valAx>
        <c:axId val="979383488"/>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0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Warren</c:v>
                </c:pt>
                <c:pt idx="1">
                  <c:v>Vance</c:v>
                </c:pt>
                <c:pt idx="2">
                  <c:v>Person</c:v>
                </c:pt>
                <c:pt idx="3">
                  <c:v>Granville</c:v>
                </c:pt>
                <c:pt idx="4">
                  <c:v>Franklin</c:v>
                </c:pt>
                <c:pt idx="5">
                  <c:v>Kerr-Tar</c:v>
                </c:pt>
                <c:pt idx="6">
                  <c:v>North Carolina</c:v>
                </c:pt>
                <c:pt idx="7">
                  <c:v>United States</c:v>
                </c:pt>
              </c:strCache>
            </c:strRef>
          </c:cat>
          <c:val>
            <c:numRef>
              <c:f>Sheet1!$B$2:$B$9</c:f>
              <c:numCache>
                <c:formatCode>0.0</c:formatCode>
                <c:ptCount val="8"/>
                <c:pt idx="0">
                  <c:v>2.636455079676002</c:v>
                </c:pt>
                <c:pt idx="1">
                  <c:v>4.9191090269636577</c:v>
                </c:pt>
                <c:pt idx="2">
                  <c:v>2.7359675889125366</c:v>
                </c:pt>
                <c:pt idx="3">
                  <c:v>4.6307555789266113</c:v>
                </c:pt>
                <c:pt idx="4">
                  <c:v>5.2856593390336997</c:v>
                </c:pt>
                <c:pt idx="5">
                  <c:v>4.4000000000000004</c:v>
                </c:pt>
                <c:pt idx="6">
                  <c:v>8.1999999999999993</c:v>
                </c:pt>
                <c:pt idx="7">
                  <c:v>13.6</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Warren</c:v>
                </c:pt>
                <c:pt idx="1">
                  <c:v>Vance</c:v>
                </c:pt>
                <c:pt idx="2">
                  <c:v>Person</c:v>
                </c:pt>
                <c:pt idx="3">
                  <c:v>Granville</c:v>
                </c:pt>
                <c:pt idx="4">
                  <c:v>Franklin</c:v>
                </c:pt>
                <c:pt idx="5">
                  <c:v>Kerr-Tar</c:v>
                </c:pt>
                <c:pt idx="6">
                  <c:v>North Carolina</c:v>
                </c:pt>
                <c:pt idx="7">
                  <c:v>United States</c:v>
                </c:pt>
              </c:strCache>
            </c:strRef>
          </c:cat>
          <c:val>
            <c:numRef>
              <c:f>Sheet1!$B$2:$B$9</c:f>
              <c:numCache>
                <c:formatCode>0.0</c:formatCode>
                <c:ptCount val="8"/>
                <c:pt idx="0">
                  <c:v>9.5571095571095572</c:v>
                </c:pt>
                <c:pt idx="1">
                  <c:v>6.5511163337250293</c:v>
                </c:pt>
                <c:pt idx="2">
                  <c:v>4.9717652835747606</c:v>
                </c:pt>
                <c:pt idx="3">
                  <c:v>6.3123190736571244</c:v>
                </c:pt>
                <c:pt idx="4">
                  <c:v>3.8309292183830932</c:v>
                </c:pt>
                <c:pt idx="5">
                  <c:v>5.6</c:v>
                </c:pt>
                <c:pt idx="6">
                  <c:v>5.7</c:v>
                </c:pt>
                <c:pt idx="7">
                  <c:v>5</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Warren</c:v>
                </c:pt>
                <c:pt idx="1">
                  <c:v>Vance</c:v>
                </c:pt>
                <c:pt idx="2">
                  <c:v>Person</c:v>
                </c:pt>
                <c:pt idx="3">
                  <c:v>Granville</c:v>
                </c:pt>
                <c:pt idx="4">
                  <c:v>Franklin</c:v>
                </c:pt>
                <c:pt idx="5">
                  <c:v>Kerr-Tar</c:v>
                </c:pt>
                <c:pt idx="6">
                  <c:v>North Carolina</c:v>
                </c:pt>
                <c:pt idx="7">
                  <c:v>United States</c:v>
                </c:pt>
              </c:strCache>
            </c:strRef>
          </c:cat>
          <c:val>
            <c:numRef>
              <c:f>Sheet1!$B$2:$B$9</c:f>
              <c:numCache>
                <c:formatCode>0.0</c:formatCode>
                <c:ptCount val="8"/>
                <c:pt idx="0">
                  <c:v>25.395486184349291</c:v>
                </c:pt>
                <c:pt idx="1">
                  <c:v>20.480021099828562</c:v>
                </c:pt>
                <c:pt idx="2">
                  <c:v>17.001998667554965</c:v>
                </c:pt>
                <c:pt idx="3">
                  <c:v>17.052524222335546</c:v>
                </c:pt>
                <c:pt idx="4">
                  <c:v>18.737654875202011</c:v>
                </c:pt>
                <c:pt idx="5">
                  <c:v>19.100000000000001</c:v>
                </c:pt>
                <c:pt idx="6">
                  <c:v>15.9</c:v>
                </c:pt>
                <c:pt idx="7">
                  <c:v>13.5</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Warren</c:v>
                </c:pt>
                <c:pt idx="1">
                  <c:v>Vance</c:v>
                </c:pt>
                <c:pt idx="2">
                  <c:v>Person</c:v>
                </c:pt>
                <c:pt idx="3">
                  <c:v>Granville</c:v>
                </c:pt>
                <c:pt idx="4">
                  <c:v>Franklin</c:v>
                </c:pt>
                <c:pt idx="5">
                  <c:v>Kerr-Tar</c:v>
                </c:pt>
                <c:pt idx="6">
                  <c:v>North Carolina</c:v>
                </c:pt>
                <c:pt idx="7">
                  <c:v>United States</c:v>
                </c:pt>
              </c:strCache>
            </c:strRef>
          </c:cat>
          <c:val>
            <c:numRef>
              <c:f>Sheet1!$B$2:$B$9</c:f>
              <c:numCache>
                <c:formatCode>0.0</c:formatCode>
                <c:ptCount val="8"/>
                <c:pt idx="0">
                  <c:v>3.3540307801687943</c:v>
                </c:pt>
                <c:pt idx="1">
                  <c:v>4.1189800245563752</c:v>
                </c:pt>
                <c:pt idx="2">
                  <c:v>6.3924377885762702</c:v>
                </c:pt>
                <c:pt idx="3">
                  <c:v>8.9370159510478899</c:v>
                </c:pt>
                <c:pt idx="4">
                  <c:v>5.6690611113472258</c:v>
                </c:pt>
                <c:pt idx="5">
                  <c:v>5.8</c:v>
                </c:pt>
                <c:pt idx="6">
                  <c:v>6.8</c:v>
                </c:pt>
                <c:pt idx="7">
                  <c:v>6.8</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5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Warren</c:v>
                </c:pt>
                <c:pt idx="1">
                  <c:v>Vance</c:v>
                </c:pt>
                <c:pt idx="2">
                  <c:v>Person</c:v>
                </c:pt>
                <c:pt idx="3">
                  <c:v>Granville</c:v>
                </c:pt>
                <c:pt idx="4">
                  <c:v>Franklin</c:v>
                </c:pt>
                <c:pt idx="5">
                  <c:v>Kerr-Tar</c:v>
                </c:pt>
                <c:pt idx="6">
                  <c:v>North Carolina</c:v>
                </c:pt>
                <c:pt idx="7">
                  <c:v>United States</c:v>
                </c:pt>
              </c:strCache>
            </c:strRef>
          </c:cat>
          <c:val>
            <c:numRef>
              <c:f>Sheet1!$B$2:$B$9</c:f>
              <c:numCache>
                <c:formatCode>0.0</c:formatCode>
                <c:ptCount val="8"/>
                <c:pt idx="0">
                  <c:v>59.364094610314076</c:v>
                </c:pt>
                <c:pt idx="1">
                  <c:v>44.375272365062571</c:v>
                </c:pt>
                <c:pt idx="2">
                  <c:v>24.417655553462673</c:v>
                </c:pt>
                <c:pt idx="3">
                  <c:v>26.078932424758662</c:v>
                </c:pt>
                <c:pt idx="4">
                  <c:v>16.864915793192793</c:v>
                </c:pt>
                <c:pt idx="5">
                  <c:v>29.4</c:v>
                </c:pt>
                <c:pt idx="6">
                  <c:v>20.7</c:v>
                </c:pt>
                <c:pt idx="7">
                  <c:v>21.1</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792377039826543"/>
          <c:y val="2.6006606459914455E-2"/>
          <c:w val="0.64036608467419831"/>
          <c:h val="0.90612378325569209"/>
        </c:manualLayout>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Warren</c:v>
                </c:pt>
                <c:pt idx="1">
                  <c:v>Vance</c:v>
                </c:pt>
                <c:pt idx="2">
                  <c:v>Person</c:v>
                </c:pt>
                <c:pt idx="3">
                  <c:v>Granville</c:v>
                </c:pt>
                <c:pt idx="4">
                  <c:v>Franklin</c:v>
                </c:pt>
                <c:pt idx="5">
                  <c:v>Kerr-Tar</c:v>
                </c:pt>
                <c:pt idx="6">
                  <c:v>North Carolina</c:v>
                </c:pt>
                <c:pt idx="7">
                  <c:v>United States</c:v>
                </c:pt>
              </c:strCache>
            </c:strRef>
          </c:cat>
          <c:val>
            <c:numRef>
              <c:f>Sheet1!$B$2:$B$9</c:f>
              <c:numCache>
                <c:formatCode>0.0</c:formatCode>
                <c:ptCount val="8"/>
                <c:pt idx="0">
                  <c:v>100</c:v>
                </c:pt>
                <c:pt idx="1">
                  <c:v>78.596775197659213</c:v>
                </c:pt>
                <c:pt idx="2">
                  <c:v>54.969548565329319</c:v>
                </c:pt>
                <c:pt idx="3">
                  <c:v>45.035964414158627</c:v>
                </c:pt>
                <c:pt idx="4">
                  <c:v>43.634436462136378</c:v>
                </c:pt>
                <c:pt idx="5">
                  <c:v>57.6</c:v>
                </c:pt>
                <c:pt idx="6">
                  <c:v>29.7</c:v>
                </c:pt>
                <c:pt idx="7">
                  <c:v>29.6</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530849246735359E-2"/>
          <c:y val="3.5199288570078653E-2"/>
          <c:w val="0.93552993290962927"/>
          <c:h val="0.80525199306986062"/>
        </c:manualLayout>
      </c:layout>
      <c:barChart>
        <c:barDir val="col"/>
        <c:grouping val="clustered"/>
        <c:varyColors val="0"/>
        <c:ser>
          <c:idx val="0"/>
          <c:order val="0"/>
          <c:tx>
            <c:strRef>
              <c:f>Sheet1!$B$1</c:f>
              <c:strCache>
                <c:ptCount val="1"/>
                <c:pt idx="0">
                  <c:v>Column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Kerr-Tar</c:v>
                </c:pt>
              </c:strCache>
            </c:strRef>
          </c:cat>
          <c:val>
            <c:numRef>
              <c:f>Sheet1!$B$2:$B$4</c:f>
              <c:numCache>
                <c:formatCode>0.00</c:formatCode>
                <c:ptCount val="3"/>
                <c:pt idx="0">
                  <c:v>3.9456284717007351</c:v>
                </c:pt>
                <c:pt idx="1">
                  <c:v>4.4296238962062287</c:v>
                </c:pt>
                <c:pt idx="2">
                  <c:v>3.99</c:v>
                </c:pt>
              </c:numCache>
            </c:numRef>
          </c:val>
          <c:extLst>
            <c:ext xmlns:c16="http://schemas.microsoft.com/office/drawing/2014/chart" uri="{C3380CC4-5D6E-409C-BE32-E72D297353CC}">
              <c16:uniqueId val="{00000000-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Work from hom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Kerr-Tar</c:v>
                </c:pt>
              </c:strCache>
            </c:strRef>
          </c:cat>
          <c:val>
            <c:numRef>
              <c:f>Sheet1!$B$2:$B$4</c:f>
              <c:numCache>
                <c:formatCode>0.0</c:formatCode>
                <c:ptCount val="3"/>
                <c:pt idx="0">
                  <c:v>9.6993852410295798</c:v>
                </c:pt>
                <c:pt idx="1">
                  <c:v>10.285900434333007</c:v>
                </c:pt>
                <c:pt idx="2" formatCode="#,##0.0">
                  <c:v>7.5</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Work from home (non-Ag)</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Kerr-Tar</c:v>
                </c:pt>
              </c:strCache>
            </c:strRef>
          </c:cat>
          <c:val>
            <c:numRef>
              <c:f>Sheet1!$C$2:$C$4</c:f>
              <c:numCache>
                <c:formatCode>0.0</c:formatCode>
                <c:ptCount val="3"/>
                <c:pt idx="0">
                  <c:v>9.5092908053327836</c:v>
                </c:pt>
                <c:pt idx="1">
                  <c:v>10.158199176779275</c:v>
                </c:pt>
                <c:pt idx="2" formatCode="#,##0.0">
                  <c:v>7.4</c:v>
                </c:pt>
              </c:numCache>
            </c:numRef>
          </c:val>
          <c:extLst>
            <c:ext xmlns:c16="http://schemas.microsoft.com/office/drawing/2014/chart" uri="{C3380CC4-5D6E-409C-BE32-E72D297353CC}">
              <c16:uniqueId val="{00000001-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Workers 16+</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Remote Work Friendly</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Kerr-Tar</c:v>
                </c:pt>
              </c:strCache>
            </c:strRef>
          </c:cat>
          <c:val>
            <c:numRef>
              <c:f>Sheet1!$B$2:$B$4</c:f>
              <c:numCache>
                <c:formatCode>0.0</c:formatCode>
                <c:ptCount val="3"/>
                <c:pt idx="0">
                  <c:v>35.163543124718231</c:v>
                </c:pt>
                <c:pt idx="1">
                  <c:v>32.670704756158578</c:v>
                </c:pt>
                <c:pt idx="2">
                  <c:v>29</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Work from Home (Non-Ag)</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Kerr-Tar</c:v>
                </c:pt>
              </c:strCache>
            </c:strRef>
          </c:cat>
          <c:val>
            <c:numRef>
              <c:f>Sheet1!$C$2:$C$4</c:f>
              <c:numCache>
                <c:formatCode>0.0</c:formatCode>
                <c:ptCount val="3"/>
                <c:pt idx="0">
                  <c:v>9.5092908053327836</c:v>
                </c:pt>
                <c:pt idx="1">
                  <c:v>10.158199176779275</c:v>
                </c:pt>
                <c:pt idx="2">
                  <c:v>7.4</c:v>
                </c:pt>
              </c:numCache>
            </c:numRef>
          </c:val>
          <c:extLst>
            <c:ext xmlns:c16="http://schemas.microsoft.com/office/drawing/2014/chart" uri="{C3380CC4-5D6E-409C-BE32-E72D297353CC}">
              <c16:uniqueId val="{00000000-5316-4FD0-A059-5A13AA1470F3}"/>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Occupations</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Column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Kerr-Tar</c:v>
                </c:pt>
              </c:strCache>
            </c:strRef>
          </c:cat>
          <c:val>
            <c:numRef>
              <c:f>Sheet1!$B$2:$B$4</c:f>
              <c:numCache>
                <c:formatCode>0.0</c:formatCode>
                <c:ptCount val="3"/>
                <c:pt idx="0">
                  <c:v>3.4315339366940902</c:v>
                </c:pt>
                <c:pt idx="1">
                  <c:v>3.1906212529243381</c:v>
                </c:pt>
                <c:pt idx="2" formatCode="#,##0.0">
                  <c:v>1.3</c:v>
                </c:pt>
              </c:numCache>
            </c:numRef>
          </c:val>
          <c:extLst>
            <c:ext xmlns:c16="http://schemas.microsoft.com/office/drawing/2014/chart" uri="{C3380CC4-5D6E-409C-BE32-E72D297353CC}">
              <c16:uniqueId val="{00000000-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max val="10"/>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Jobs</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Under 18</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Kerr-Tar</c:v>
                </c:pt>
              </c:strCache>
            </c:strRef>
          </c:cat>
          <c:val>
            <c:numRef>
              <c:f>Sheet1!$B$2:$B$4</c:f>
              <c:numCache>
                <c:formatCode>#,##0.0</c:formatCode>
                <c:ptCount val="3"/>
                <c:pt idx="0">
                  <c:v>22.513903012548795</c:v>
                </c:pt>
                <c:pt idx="1">
                  <c:v>22.208065151207357</c:v>
                </c:pt>
                <c:pt idx="2">
                  <c:v>21.513603214114156</c:v>
                </c:pt>
              </c:numCache>
            </c:numRef>
          </c:val>
          <c:extLst>
            <c:ext xmlns:c16="http://schemas.microsoft.com/office/drawing/2014/chart" uri="{C3380CC4-5D6E-409C-BE32-E72D297353CC}">
              <c16:uniqueId val="{00000000-298F-467E-8D4C-304DCB4FECBD}"/>
            </c:ext>
          </c:extLst>
        </c:ser>
        <c:ser>
          <c:idx val="1"/>
          <c:order val="1"/>
          <c:tx>
            <c:strRef>
              <c:f>Sheet1!$C$1</c:f>
              <c:strCache>
                <c:ptCount val="1"/>
                <c:pt idx="0">
                  <c:v>18-24</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Kerr-Tar</c:v>
                </c:pt>
              </c:strCache>
            </c:strRef>
          </c:cat>
          <c:val>
            <c:numRef>
              <c:f>Sheet1!$C$2:$C$4</c:f>
              <c:numCache>
                <c:formatCode>#,##0.0</c:formatCode>
                <c:ptCount val="3"/>
                <c:pt idx="0">
                  <c:v>9.2013176864544484</c:v>
                </c:pt>
                <c:pt idx="1">
                  <c:v>9.4514220187822495</c:v>
                </c:pt>
                <c:pt idx="2">
                  <c:v>8.1575614655661823</c:v>
                </c:pt>
              </c:numCache>
            </c:numRef>
          </c:val>
          <c:extLst>
            <c:ext xmlns:c16="http://schemas.microsoft.com/office/drawing/2014/chart" uri="{C3380CC4-5D6E-409C-BE32-E72D297353CC}">
              <c16:uniqueId val="{00000001-298F-467E-8D4C-304DCB4FECBD}"/>
            </c:ext>
          </c:extLst>
        </c:ser>
        <c:ser>
          <c:idx val="2"/>
          <c:order val="2"/>
          <c:tx>
            <c:strRef>
              <c:f>Sheet1!$D$1</c:f>
              <c:strCache>
                <c:ptCount val="1"/>
                <c:pt idx="0">
                  <c:v>25-54</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Kerr-Tar</c:v>
                </c:pt>
              </c:strCache>
            </c:strRef>
          </c:cat>
          <c:val>
            <c:numRef>
              <c:f>Sheet1!$D$2:$D$4</c:f>
              <c:numCache>
                <c:formatCode>#,##0.0</c:formatCode>
                <c:ptCount val="3"/>
                <c:pt idx="0">
                  <c:v>39.255165420472913</c:v>
                </c:pt>
                <c:pt idx="1">
                  <c:v>39.051455663931264</c:v>
                </c:pt>
                <c:pt idx="2">
                  <c:v>36.924319839294299</c:v>
                </c:pt>
              </c:numCache>
            </c:numRef>
          </c:val>
          <c:extLst>
            <c:ext xmlns:c16="http://schemas.microsoft.com/office/drawing/2014/chart" uri="{C3380CC4-5D6E-409C-BE32-E72D297353CC}">
              <c16:uniqueId val="{00000002-298F-467E-8D4C-304DCB4FECBD}"/>
            </c:ext>
          </c:extLst>
        </c:ser>
        <c:ser>
          <c:idx val="3"/>
          <c:order val="3"/>
          <c:tx>
            <c:strRef>
              <c:f>Sheet1!$E$1</c:f>
              <c:strCache>
                <c:ptCount val="1"/>
                <c:pt idx="0">
                  <c:v>55-64</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Kerr-Tar</c:v>
                </c:pt>
              </c:strCache>
            </c:strRef>
          </c:cat>
          <c:val>
            <c:numRef>
              <c:f>Sheet1!$E$2:$E$4</c:f>
              <c:numCache>
                <c:formatCode>#,##0.0</c:formatCode>
                <c:ptCount val="3"/>
                <c:pt idx="0">
                  <c:v>12.989415579926018</c:v>
                </c:pt>
                <c:pt idx="1">
                  <c:v>13.023682210764095</c:v>
                </c:pt>
                <c:pt idx="2">
                  <c:v>14.962225424691034</c:v>
                </c:pt>
              </c:numCache>
            </c:numRef>
          </c:val>
          <c:extLst>
            <c:ext xmlns:c16="http://schemas.microsoft.com/office/drawing/2014/chart" uri="{C3380CC4-5D6E-409C-BE32-E72D297353CC}">
              <c16:uniqueId val="{00000003-298F-467E-8D4C-304DCB4FECBD}"/>
            </c:ext>
          </c:extLst>
        </c:ser>
        <c:ser>
          <c:idx val="4"/>
          <c:order val="4"/>
          <c:tx>
            <c:strRef>
              <c:f>Sheet1!$F$1</c:f>
              <c:strCache>
                <c:ptCount val="1"/>
                <c:pt idx="0">
                  <c:v>65 or older</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Kerr-Tar</c:v>
                </c:pt>
              </c:strCache>
            </c:strRef>
          </c:cat>
          <c:val>
            <c:numRef>
              <c:f>Sheet1!$F$2:$F$4</c:f>
              <c:numCache>
                <c:formatCode>#,##0.0</c:formatCode>
                <c:ptCount val="3"/>
                <c:pt idx="0">
                  <c:v>16.040198300597826</c:v>
                </c:pt>
                <c:pt idx="1">
                  <c:v>16.265374955315039</c:v>
                </c:pt>
                <c:pt idx="2">
                  <c:v>18.442290056334336</c:v>
                </c:pt>
              </c:numCache>
            </c:numRef>
          </c:val>
          <c:extLst>
            <c:ext xmlns:c16="http://schemas.microsoft.com/office/drawing/2014/chart" uri="{C3380CC4-5D6E-409C-BE32-E72D297353CC}">
              <c16:uniqueId val="{00000004-298F-467E-8D4C-304DCB4FECBD}"/>
            </c:ext>
          </c:extLst>
        </c:ser>
        <c:dLbls>
          <c:showLegendKey val="0"/>
          <c:showVal val="0"/>
          <c:showCatName val="0"/>
          <c:showSerName val="0"/>
          <c:showPercent val="0"/>
          <c:showBubbleSize val="0"/>
        </c:dLbls>
        <c:gapWidth val="60"/>
        <c:overlap val="100"/>
        <c:axId val="979383072"/>
        <c:axId val="979383488"/>
      </c:barChart>
      <c:catAx>
        <c:axId val="97938307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488"/>
        <c:crosses val="autoZero"/>
        <c:auto val="1"/>
        <c:lblAlgn val="ctr"/>
        <c:lblOffset val="100"/>
        <c:noMultiLvlLbl val="0"/>
      </c:catAx>
      <c:valAx>
        <c:axId val="979383488"/>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0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842086452243898E-2"/>
          <c:y val="3.5199288570078653E-2"/>
          <c:w val="0.94963991763392563"/>
          <c:h val="0.80525199306986062"/>
        </c:manualLayout>
      </c:layout>
      <c:barChart>
        <c:barDir val="col"/>
        <c:grouping val="percentStacked"/>
        <c:varyColors val="0"/>
        <c:ser>
          <c:idx val="0"/>
          <c:order val="0"/>
          <c:tx>
            <c:strRef>
              <c:f>Sheet1!$B$1</c:f>
              <c:strCache>
                <c:ptCount val="1"/>
                <c:pt idx="0">
                  <c:v>Low</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Kerr-Tar</c:v>
                </c:pt>
              </c:strCache>
            </c:strRef>
          </c:cat>
          <c:val>
            <c:numRef>
              <c:f>Sheet1!$B$2:$B$4</c:f>
              <c:numCache>
                <c:formatCode>0.0</c:formatCode>
                <c:ptCount val="3"/>
                <c:pt idx="0">
                  <c:v>28.70828963274613</c:v>
                </c:pt>
                <c:pt idx="1">
                  <c:v>28.399462765329204</c:v>
                </c:pt>
                <c:pt idx="2" formatCode="#,##0.0">
                  <c:v>30.3</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Middl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Kerr-Tar</c:v>
                </c:pt>
              </c:strCache>
            </c:strRef>
          </c:cat>
          <c:val>
            <c:numRef>
              <c:f>Sheet1!$C$2:$C$4</c:f>
              <c:numCache>
                <c:formatCode>0.0</c:formatCode>
                <c:ptCount val="3"/>
                <c:pt idx="0">
                  <c:v>41.555902088108759</c:v>
                </c:pt>
                <c:pt idx="1">
                  <c:v>42.725477774104526</c:v>
                </c:pt>
                <c:pt idx="2" formatCode="#,##0.0">
                  <c:v>45.7</c:v>
                </c:pt>
              </c:numCache>
            </c:numRef>
          </c:val>
          <c:extLst>
            <c:ext xmlns:c16="http://schemas.microsoft.com/office/drawing/2014/chart" uri="{C3380CC4-5D6E-409C-BE32-E72D297353CC}">
              <c16:uniqueId val="{00000001-C2FE-475A-B0E0-E3DA432EC801}"/>
            </c:ext>
          </c:extLst>
        </c:ser>
        <c:ser>
          <c:idx val="2"/>
          <c:order val="2"/>
          <c:tx>
            <c:strRef>
              <c:f>Sheet1!$D$1</c:f>
              <c:strCache>
                <c:ptCount val="1"/>
                <c:pt idx="0">
                  <c:v>High</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Kerr-Tar</c:v>
                </c:pt>
              </c:strCache>
            </c:strRef>
          </c:cat>
          <c:val>
            <c:numRef>
              <c:f>Sheet1!$D$2:$D$4</c:f>
              <c:numCache>
                <c:formatCode>0.0</c:formatCode>
                <c:ptCount val="3"/>
                <c:pt idx="0">
                  <c:v>29.735808279145072</c:v>
                </c:pt>
                <c:pt idx="1">
                  <c:v>28.875059460566249</c:v>
                </c:pt>
                <c:pt idx="2" formatCode="#,##0.0">
                  <c:v>24</c:v>
                </c:pt>
              </c:numCache>
            </c:numRef>
          </c:val>
          <c:extLst>
            <c:ext xmlns:c16="http://schemas.microsoft.com/office/drawing/2014/chart" uri="{C3380CC4-5D6E-409C-BE32-E72D297353CC}">
              <c16:uniqueId val="{00000000-7FF8-4673-813A-20F4B1D13D30}"/>
            </c:ext>
          </c:extLst>
        </c:ser>
        <c:dLbls>
          <c:showLegendKey val="0"/>
          <c:showVal val="0"/>
          <c:showCatName val="0"/>
          <c:showSerName val="0"/>
          <c:showPercent val="0"/>
          <c:showBubbleSize val="0"/>
        </c:dLbls>
        <c:gapWidth val="80"/>
        <c:overlap val="10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1"/>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Occupations</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Less than High School</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Kerr-Tar</c:v>
                </c:pt>
              </c:strCache>
            </c:strRef>
          </c:cat>
          <c:val>
            <c:numRef>
              <c:f>Sheet1!$B$2:$B$4</c:f>
              <c:numCache>
                <c:formatCode>#,##0.0</c:formatCode>
                <c:ptCount val="3"/>
                <c:pt idx="0">
                  <c:v>11.12595967644428</c:v>
                </c:pt>
                <c:pt idx="1">
                  <c:v>10.962591300115909</c:v>
                </c:pt>
                <c:pt idx="2">
                  <c:v>13.829589061510376</c:v>
                </c:pt>
              </c:numCache>
            </c:numRef>
          </c:val>
          <c:extLst>
            <c:ext xmlns:c16="http://schemas.microsoft.com/office/drawing/2014/chart" uri="{C3380CC4-5D6E-409C-BE32-E72D297353CC}">
              <c16:uniqueId val="{00000000-DB59-4D1E-94C4-FDDF6616C3B1}"/>
            </c:ext>
          </c:extLst>
        </c:ser>
        <c:ser>
          <c:idx val="1"/>
          <c:order val="1"/>
          <c:tx>
            <c:strRef>
              <c:f>Sheet1!$C$1</c:f>
              <c:strCache>
                <c:ptCount val="1"/>
                <c:pt idx="0">
                  <c:v>High School</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Kerr-Tar</c:v>
                </c:pt>
              </c:strCache>
            </c:strRef>
          </c:cat>
          <c:val>
            <c:numRef>
              <c:f>Sheet1!$C$2:$C$4</c:f>
              <c:numCache>
                <c:formatCode>#,##0.0</c:formatCode>
                <c:ptCount val="3"/>
                <c:pt idx="0">
                  <c:v>26.487129599470212</c:v>
                </c:pt>
                <c:pt idx="1">
                  <c:v>25.231126134035375</c:v>
                </c:pt>
                <c:pt idx="2">
                  <c:v>32.692522633284895</c:v>
                </c:pt>
              </c:numCache>
            </c:numRef>
          </c:val>
          <c:extLst>
            <c:ext xmlns:c16="http://schemas.microsoft.com/office/drawing/2014/chart" uri="{C3380CC4-5D6E-409C-BE32-E72D297353CC}">
              <c16:uniqueId val="{00000001-DB59-4D1E-94C4-FDDF6616C3B1}"/>
            </c:ext>
          </c:extLst>
        </c:ser>
        <c:ser>
          <c:idx val="2"/>
          <c:order val="2"/>
          <c:tx>
            <c:strRef>
              <c:f>Sheet1!$D$1</c:f>
              <c:strCache>
                <c:ptCount val="1"/>
                <c:pt idx="0">
                  <c:v>Some College</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Kerr-Tar</c:v>
                </c:pt>
              </c:strCache>
            </c:strRef>
          </c:cat>
          <c:val>
            <c:numRef>
              <c:f>Sheet1!$D$2:$D$4</c:f>
              <c:numCache>
                <c:formatCode>#,##0.0</c:formatCode>
                <c:ptCount val="3"/>
                <c:pt idx="0">
                  <c:v>28.716889020511388</c:v>
                </c:pt>
                <c:pt idx="1">
                  <c:v>30.789995477690791</c:v>
                </c:pt>
                <c:pt idx="2">
                  <c:v>33.178719123728619</c:v>
                </c:pt>
              </c:numCache>
            </c:numRef>
          </c:val>
          <c:extLst>
            <c:ext xmlns:c16="http://schemas.microsoft.com/office/drawing/2014/chart" uri="{C3380CC4-5D6E-409C-BE32-E72D297353CC}">
              <c16:uniqueId val="{00000002-DB59-4D1E-94C4-FDDF6616C3B1}"/>
            </c:ext>
          </c:extLst>
        </c:ser>
        <c:ser>
          <c:idx val="3"/>
          <c:order val="3"/>
          <c:tx>
            <c:strRef>
              <c:f>Sheet1!$E$1</c:f>
              <c:strCache>
                <c:ptCount val="1"/>
                <c:pt idx="0">
                  <c:v>Bachelor's or Higher</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Kerr-Tar</c:v>
                </c:pt>
              </c:strCache>
            </c:strRef>
          </c:cat>
          <c:val>
            <c:numRef>
              <c:f>Sheet1!$E$2:$E$4</c:f>
              <c:numCache>
                <c:formatCode>#,##0.0</c:formatCode>
                <c:ptCount val="3"/>
                <c:pt idx="0">
                  <c:v>33.670021703574122</c:v>
                </c:pt>
                <c:pt idx="1">
                  <c:v>33.016287088157931</c:v>
                </c:pt>
                <c:pt idx="2">
                  <c:v>20.299169181476103</c:v>
                </c:pt>
              </c:numCache>
            </c:numRef>
          </c:val>
          <c:extLst>
            <c:ext xmlns:c16="http://schemas.microsoft.com/office/drawing/2014/chart" uri="{C3380CC4-5D6E-409C-BE32-E72D297353CC}">
              <c16:uniqueId val="{00000003-DB59-4D1E-94C4-FDDF6616C3B1}"/>
            </c:ext>
          </c:extLst>
        </c:ser>
        <c:dLbls>
          <c:showLegendKey val="0"/>
          <c:showVal val="0"/>
          <c:showCatName val="0"/>
          <c:showSerName val="0"/>
          <c:showPercent val="0"/>
          <c:showBubbleSize val="0"/>
        </c:dLbls>
        <c:gapWidth val="60"/>
        <c:overlap val="100"/>
        <c:axId val="979383072"/>
        <c:axId val="979383488"/>
      </c:barChart>
      <c:catAx>
        <c:axId val="97938307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488"/>
        <c:crosses val="autoZero"/>
        <c:auto val="1"/>
        <c:lblAlgn val="ctr"/>
        <c:lblOffset val="100"/>
        <c:noMultiLvlLbl val="0"/>
      </c:catAx>
      <c:valAx>
        <c:axId val="979383488"/>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0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United Stat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e-K to 4th Grade</c:v>
                </c:pt>
                <c:pt idx="1">
                  <c:v>5th - 8th Grade</c:v>
                </c:pt>
                <c:pt idx="2">
                  <c:v>9th - 12th Grade</c:v>
                </c:pt>
              </c:strCache>
            </c:strRef>
          </c:cat>
          <c:val>
            <c:numRef>
              <c:f>Sheet1!$B$2:$B$4</c:f>
              <c:numCache>
                <c:formatCode>#,##0.0</c:formatCode>
                <c:ptCount val="3"/>
                <c:pt idx="0">
                  <c:v>6.7632019873283902</c:v>
                </c:pt>
                <c:pt idx="1">
                  <c:v>6.4400531487874915</c:v>
                </c:pt>
                <c:pt idx="2">
                  <c:v>5.9494230626393074</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North Carolina</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e-K to 4th Grade</c:v>
                </c:pt>
                <c:pt idx="1">
                  <c:v>5th - 8th Grade</c:v>
                </c:pt>
                <c:pt idx="2">
                  <c:v>9th - 12th Grade</c:v>
                </c:pt>
              </c:strCache>
            </c:strRef>
          </c:cat>
          <c:val>
            <c:numRef>
              <c:f>Sheet1!$C$2:$C$4</c:f>
              <c:numCache>
                <c:formatCode>#,##0.0</c:formatCode>
                <c:ptCount val="3"/>
                <c:pt idx="0">
                  <c:v>7.6134563169347897</c:v>
                </c:pt>
                <c:pt idx="1">
                  <c:v>7.0258056619938429</c:v>
                </c:pt>
                <c:pt idx="2">
                  <c:v>6.4229869368409744</c:v>
                </c:pt>
              </c:numCache>
            </c:numRef>
          </c:val>
          <c:extLst>
            <c:ext xmlns:c16="http://schemas.microsoft.com/office/drawing/2014/chart" uri="{C3380CC4-5D6E-409C-BE32-E72D297353CC}">
              <c16:uniqueId val="{00000001-C2FE-475A-B0E0-E3DA432EC801}"/>
            </c:ext>
          </c:extLst>
        </c:ser>
        <c:ser>
          <c:idx val="2"/>
          <c:order val="2"/>
          <c:tx>
            <c:strRef>
              <c:f>Sheet1!$D$1</c:f>
              <c:strCache>
                <c:ptCount val="1"/>
                <c:pt idx="0">
                  <c:v>Kerr-Tar</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e-K to 4th Grade</c:v>
                </c:pt>
                <c:pt idx="1">
                  <c:v>5th - 8th Grade</c:v>
                </c:pt>
                <c:pt idx="2">
                  <c:v>9th - 12th Grade</c:v>
                </c:pt>
              </c:strCache>
            </c:strRef>
          </c:cat>
          <c:val>
            <c:numRef>
              <c:f>Sheet1!$D$2:$D$4</c:f>
              <c:numCache>
                <c:formatCode>#,##0.0</c:formatCode>
                <c:ptCount val="3"/>
                <c:pt idx="0">
                  <c:v>10.761904761904761</c:v>
                </c:pt>
                <c:pt idx="1">
                  <c:v>7.6195219123505975</c:v>
                </c:pt>
                <c:pt idx="2">
                  <c:v>6.4709862967349014</c:v>
                </c:pt>
              </c:numCache>
            </c:numRef>
          </c:val>
          <c:extLst>
            <c:ext xmlns:c16="http://schemas.microsoft.com/office/drawing/2014/chart" uri="{C3380CC4-5D6E-409C-BE32-E72D297353CC}">
              <c16:uniqueId val="{00000002-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Children</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United Stat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hite Alone</c:v>
                </c:pt>
                <c:pt idx="1">
                  <c:v>Black Alone</c:v>
                </c:pt>
                <c:pt idx="2">
                  <c:v>American Indian Alone</c:v>
                </c:pt>
                <c:pt idx="3">
                  <c:v>Hispanic or Latino</c:v>
                </c:pt>
              </c:strCache>
            </c:strRef>
          </c:cat>
          <c:val>
            <c:numRef>
              <c:f>Sheet1!$B$2:$B$5</c:f>
              <c:numCache>
                <c:formatCode>#,##0.0</c:formatCode>
                <c:ptCount val="4"/>
                <c:pt idx="0">
                  <c:v>5.1048696248406324</c:v>
                </c:pt>
                <c:pt idx="1">
                  <c:v>8.4971024576891452</c:v>
                </c:pt>
                <c:pt idx="2">
                  <c:v>11.193421141111068</c:v>
                </c:pt>
                <c:pt idx="3">
                  <c:v>7.5528416098913702</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North Carolina</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hite Alone</c:v>
                </c:pt>
                <c:pt idx="1">
                  <c:v>Black Alone</c:v>
                </c:pt>
                <c:pt idx="2">
                  <c:v>American Indian Alone</c:v>
                </c:pt>
                <c:pt idx="3">
                  <c:v>Hispanic or Latino</c:v>
                </c:pt>
              </c:strCache>
            </c:strRef>
          </c:cat>
          <c:val>
            <c:numRef>
              <c:f>Sheet1!$C$2:$C$5</c:f>
              <c:numCache>
                <c:formatCode>#,##0.0</c:formatCode>
                <c:ptCount val="4"/>
                <c:pt idx="0">
                  <c:v>5.6038633516447804</c:v>
                </c:pt>
                <c:pt idx="1">
                  <c:v>8.4737784081635166</c:v>
                </c:pt>
                <c:pt idx="2">
                  <c:v>14.773568218327526</c:v>
                </c:pt>
                <c:pt idx="3">
                  <c:v>8.6731004114168169</c:v>
                </c:pt>
              </c:numCache>
            </c:numRef>
          </c:val>
          <c:extLst>
            <c:ext xmlns:c16="http://schemas.microsoft.com/office/drawing/2014/chart" uri="{C3380CC4-5D6E-409C-BE32-E72D297353CC}">
              <c16:uniqueId val="{00000001-C2FE-475A-B0E0-E3DA432EC801}"/>
            </c:ext>
          </c:extLst>
        </c:ser>
        <c:ser>
          <c:idx val="2"/>
          <c:order val="2"/>
          <c:tx>
            <c:strRef>
              <c:f>Sheet1!$D$1</c:f>
              <c:strCache>
                <c:ptCount val="1"/>
                <c:pt idx="0">
                  <c:v>Kerr-Tar</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hite Alone</c:v>
                </c:pt>
                <c:pt idx="1">
                  <c:v>Black Alone</c:v>
                </c:pt>
                <c:pt idx="2">
                  <c:v>American Indian Alone</c:v>
                </c:pt>
                <c:pt idx="3">
                  <c:v>Hispanic or Latino</c:v>
                </c:pt>
              </c:strCache>
            </c:strRef>
          </c:cat>
          <c:val>
            <c:numRef>
              <c:f>Sheet1!$D$2:$D$5</c:f>
              <c:numCache>
                <c:formatCode>#,##0.0;[Red]#,##0.0</c:formatCode>
                <c:ptCount val="4"/>
                <c:pt idx="0">
                  <c:v>5.0156398325526386</c:v>
                </c:pt>
                <c:pt idx="1">
                  <c:v>8.0998205378213015</c:v>
                </c:pt>
                <c:pt idx="2">
                  <c:v>12.960497114957834</c:v>
                </c:pt>
                <c:pt idx="3">
                  <c:v>10.406418364956664</c:v>
                </c:pt>
              </c:numCache>
            </c:numRef>
          </c:val>
          <c:extLst>
            <c:ext xmlns:c16="http://schemas.microsoft.com/office/drawing/2014/chart" uri="{C3380CC4-5D6E-409C-BE32-E72D297353CC}">
              <c16:uniqueId val="{00000002-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Children</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United Stat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hite Alone</c:v>
                </c:pt>
                <c:pt idx="1">
                  <c:v>Black Alone</c:v>
                </c:pt>
                <c:pt idx="2">
                  <c:v>American Indian Alone</c:v>
                </c:pt>
                <c:pt idx="3">
                  <c:v>Hispanic or Latino</c:v>
                </c:pt>
              </c:strCache>
            </c:strRef>
          </c:cat>
          <c:val>
            <c:numRef>
              <c:f>Sheet1!$B$2:$B$5</c:f>
              <c:numCache>
                <c:formatCode>#,##0.0</c:formatCode>
                <c:ptCount val="4"/>
                <c:pt idx="0">
                  <c:v>4.3107693542841385</c:v>
                </c:pt>
                <c:pt idx="1">
                  <c:v>6.416960166017037</c:v>
                </c:pt>
                <c:pt idx="2">
                  <c:v>9.2180310760359525</c:v>
                </c:pt>
                <c:pt idx="3">
                  <c:v>3.9551755473774581</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North Carolina</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hite Alone</c:v>
                </c:pt>
                <c:pt idx="1">
                  <c:v>Black Alone</c:v>
                </c:pt>
                <c:pt idx="2">
                  <c:v>American Indian Alone</c:v>
                </c:pt>
                <c:pt idx="3">
                  <c:v>Hispanic or Latino</c:v>
                </c:pt>
              </c:strCache>
            </c:strRef>
          </c:cat>
          <c:val>
            <c:numRef>
              <c:f>Sheet1!$C$2:$C$5</c:f>
              <c:numCache>
                <c:formatCode>#,##0.0</c:formatCode>
                <c:ptCount val="4"/>
                <c:pt idx="0">
                  <c:v>4.4955765720803793</c:v>
                </c:pt>
                <c:pt idx="1">
                  <c:v>7.6635392868514272</c:v>
                </c:pt>
                <c:pt idx="2">
                  <c:v>9.4227749399851994</c:v>
                </c:pt>
                <c:pt idx="3">
                  <c:v>4.0178427937773211</c:v>
                </c:pt>
              </c:numCache>
            </c:numRef>
          </c:val>
          <c:extLst>
            <c:ext xmlns:c16="http://schemas.microsoft.com/office/drawing/2014/chart" uri="{C3380CC4-5D6E-409C-BE32-E72D297353CC}">
              <c16:uniqueId val="{00000001-C2FE-475A-B0E0-E3DA432EC801}"/>
            </c:ext>
          </c:extLst>
        </c:ser>
        <c:ser>
          <c:idx val="2"/>
          <c:order val="2"/>
          <c:tx>
            <c:strRef>
              <c:f>Sheet1!$D$1</c:f>
              <c:strCache>
                <c:ptCount val="1"/>
                <c:pt idx="0">
                  <c:v>Kerr-Tar</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hite Alone</c:v>
                </c:pt>
                <c:pt idx="1">
                  <c:v>Black Alone</c:v>
                </c:pt>
                <c:pt idx="2">
                  <c:v>American Indian Alone</c:v>
                </c:pt>
                <c:pt idx="3">
                  <c:v>Hispanic or Latino</c:v>
                </c:pt>
              </c:strCache>
            </c:strRef>
          </c:cat>
          <c:val>
            <c:numRef>
              <c:f>Sheet1!$D$2:$D$5</c:f>
              <c:numCache>
                <c:formatCode>#,##0.0;[Red]#,##0.0</c:formatCode>
                <c:ptCount val="4"/>
                <c:pt idx="0">
                  <c:v>4.7114022938421076</c:v>
                </c:pt>
                <c:pt idx="1">
                  <c:v>12.505828988087666</c:v>
                </c:pt>
                <c:pt idx="2">
                  <c:v>11.584553928095872</c:v>
                </c:pt>
                <c:pt idx="3">
                  <c:v>1.8154134457718434</c:v>
                </c:pt>
              </c:numCache>
            </c:numRef>
          </c:val>
          <c:extLst>
            <c:ext xmlns:c16="http://schemas.microsoft.com/office/drawing/2014/chart" uri="{C3380CC4-5D6E-409C-BE32-E72D297353CC}">
              <c16:uniqueId val="{00000002-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Children</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United Stat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Less than $10k</c:v>
                </c:pt>
                <c:pt idx="1">
                  <c:v>$10-$19.9k</c:v>
                </c:pt>
                <c:pt idx="2">
                  <c:v>$20-$34.9K</c:v>
                </c:pt>
                <c:pt idx="3">
                  <c:v>$35-$49.9k</c:v>
                </c:pt>
                <c:pt idx="4">
                  <c:v>$50-$74.9k</c:v>
                </c:pt>
                <c:pt idx="5">
                  <c:v>$75k or higher</c:v>
                </c:pt>
              </c:strCache>
            </c:strRef>
          </c:cat>
          <c:val>
            <c:numRef>
              <c:f>Sheet1!$B$2:$B$7</c:f>
              <c:numCache>
                <c:formatCode>#,##0.0</c:formatCode>
                <c:ptCount val="6"/>
                <c:pt idx="0">
                  <c:v>32.240789650020453</c:v>
                </c:pt>
                <c:pt idx="1">
                  <c:v>35.060039929643672</c:v>
                </c:pt>
                <c:pt idx="2">
                  <c:v>23.685955682452324</c:v>
                </c:pt>
                <c:pt idx="3">
                  <c:v>15.28812023186428</c:v>
                </c:pt>
                <c:pt idx="4">
                  <c:v>10.030658664043282</c:v>
                </c:pt>
                <c:pt idx="5" formatCode="0.0">
                  <c:v>4.2904857511447796</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North Carolina</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Less than $10k</c:v>
                </c:pt>
                <c:pt idx="1">
                  <c:v>$10-$19.9k</c:v>
                </c:pt>
                <c:pt idx="2">
                  <c:v>$20-$34.9K</c:v>
                </c:pt>
                <c:pt idx="3">
                  <c:v>$35-$49.9k</c:v>
                </c:pt>
                <c:pt idx="4">
                  <c:v>$50-$74.9k</c:v>
                </c:pt>
                <c:pt idx="5">
                  <c:v>$75k or higher</c:v>
                </c:pt>
              </c:strCache>
            </c:strRef>
          </c:cat>
          <c:val>
            <c:numRef>
              <c:f>Sheet1!$C$2:$C$7</c:f>
              <c:numCache>
                <c:formatCode>#,##0.0</c:formatCode>
                <c:ptCount val="6"/>
                <c:pt idx="0">
                  <c:v>33.950868966923196</c:v>
                </c:pt>
                <c:pt idx="1">
                  <c:v>38.456579130193134</c:v>
                </c:pt>
                <c:pt idx="2">
                  <c:v>24.425306066423939</c:v>
                </c:pt>
                <c:pt idx="3">
                  <c:v>14.722471660537762</c:v>
                </c:pt>
                <c:pt idx="4">
                  <c:v>10.098076663820608</c:v>
                </c:pt>
                <c:pt idx="5" formatCode="0.0">
                  <c:v>4.5158084847771969</c:v>
                </c:pt>
              </c:numCache>
            </c:numRef>
          </c:val>
          <c:extLst>
            <c:ext xmlns:c16="http://schemas.microsoft.com/office/drawing/2014/chart" uri="{C3380CC4-5D6E-409C-BE32-E72D297353CC}">
              <c16:uniqueId val="{00000001-C2FE-475A-B0E0-E3DA432EC801}"/>
            </c:ext>
          </c:extLst>
        </c:ser>
        <c:ser>
          <c:idx val="2"/>
          <c:order val="2"/>
          <c:tx>
            <c:strRef>
              <c:f>Sheet1!$D$1</c:f>
              <c:strCache>
                <c:ptCount val="1"/>
                <c:pt idx="0">
                  <c:v>Kerr-Tar</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Less than $10k</c:v>
                </c:pt>
                <c:pt idx="1">
                  <c:v>$10-$19.9k</c:v>
                </c:pt>
                <c:pt idx="2">
                  <c:v>$20-$34.9K</c:v>
                </c:pt>
                <c:pt idx="3">
                  <c:v>$35-$49.9k</c:v>
                </c:pt>
                <c:pt idx="4">
                  <c:v>$50-$74.9k</c:v>
                </c:pt>
                <c:pt idx="5">
                  <c:v>$75k or higher</c:v>
                </c:pt>
              </c:strCache>
            </c:strRef>
          </c:cat>
          <c:val>
            <c:numRef>
              <c:f>Sheet1!$D$2:$D$7</c:f>
              <c:numCache>
                <c:formatCode>#,##0.0</c:formatCode>
                <c:ptCount val="6"/>
                <c:pt idx="0">
                  <c:v>38.111753371868978</c:v>
                </c:pt>
                <c:pt idx="1">
                  <c:v>37.78184731601236</c:v>
                </c:pt>
                <c:pt idx="2">
                  <c:v>28.002268538210689</c:v>
                </c:pt>
                <c:pt idx="3">
                  <c:v>17.132359224130564</c:v>
                </c:pt>
                <c:pt idx="4">
                  <c:v>12.407369637636821</c:v>
                </c:pt>
                <c:pt idx="5" formatCode="0.0">
                  <c:v>5.6888387117006927</c:v>
                </c:pt>
              </c:numCache>
            </c:numRef>
          </c:val>
          <c:extLst>
            <c:ext xmlns:c16="http://schemas.microsoft.com/office/drawing/2014/chart" uri="{C3380CC4-5D6E-409C-BE32-E72D297353CC}">
              <c16:uniqueId val="{00000002-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Homes</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United Stat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ellular Data Only</c:v>
                </c:pt>
                <c:pt idx="1">
                  <c:v>No Internet Access</c:v>
                </c:pt>
                <c:pt idx="2">
                  <c:v>Mobile Device Only</c:v>
                </c:pt>
                <c:pt idx="3">
                  <c:v>No Computing Device</c:v>
                </c:pt>
              </c:strCache>
            </c:strRef>
          </c:cat>
          <c:val>
            <c:numRef>
              <c:f>Sheet1!$B$2:$B$5</c:f>
              <c:numCache>
                <c:formatCode>#,##0.0</c:formatCode>
                <c:ptCount val="4"/>
                <c:pt idx="0">
                  <c:v>11.18474320405404</c:v>
                </c:pt>
                <c:pt idx="1">
                  <c:v>10.256260993380328</c:v>
                </c:pt>
                <c:pt idx="2">
                  <c:v>14.165656379879616</c:v>
                </c:pt>
                <c:pt idx="3">
                  <c:v>6.9457818706909462</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North Carolina</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ellular Data Only</c:v>
                </c:pt>
                <c:pt idx="1">
                  <c:v>No Internet Access</c:v>
                </c:pt>
                <c:pt idx="2">
                  <c:v>Mobile Device Only</c:v>
                </c:pt>
                <c:pt idx="3">
                  <c:v>No Computing Device</c:v>
                </c:pt>
              </c:strCache>
            </c:strRef>
          </c:cat>
          <c:val>
            <c:numRef>
              <c:f>Sheet1!$C$2:$C$5</c:f>
              <c:numCache>
                <c:formatCode>#,##0.0</c:formatCode>
                <c:ptCount val="4"/>
                <c:pt idx="0">
                  <c:v>10.324922596168621</c:v>
                </c:pt>
                <c:pt idx="1">
                  <c:v>11.862168140057561</c:v>
                </c:pt>
                <c:pt idx="2">
                  <c:v>14.793525341761585</c:v>
                </c:pt>
                <c:pt idx="3">
                  <c:v>7.9889775754433305</c:v>
                </c:pt>
              </c:numCache>
            </c:numRef>
          </c:val>
          <c:extLst>
            <c:ext xmlns:c16="http://schemas.microsoft.com/office/drawing/2014/chart" uri="{C3380CC4-5D6E-409C-BE32-E72D297353CC}">
              <c16:uniqueId val="{00000001-C2FE-475A-B0E0-E3DA432EC801}"/>
            </c:ext>
          </c:extLst>
        </c:ser>
        <c:ser>
          <c:idx val="2"/>
          <c:order val="2"/>
          <c:tx>
            <c:strRef>
              <c:f>Sheet1!$D$1</c:f>
              <c:strCache>
                <c:ptCount val="1"/>
                <c:pt idx="0">
                  <c:v>Kerr-Tar</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ellular Data Only</c:v>
                </c:pt>
                <c:pt idx="1">
                  <c:v>No Internet Access</c:v>
                </c:pt>
                <c:pt idx="2">
                  <c:v>Mobile Device Only</c:v>
                </c:pt>
                <c:pt idx="3">
                  <c:v>No Computing Device</c:v>
                </c:pt>
              </c:strCache>
            </c:strRef>
          </c:cat>
          <c:val>
            <c:numRef>
              <c:f>Sheet1!$D$2:$D$5</c:f>
              <c:numCache>
                <c:formatCode>#,##0.0;[Red]#,##0.0</c:formatCode>
                <c:ptCount val="4"/>
                <c:pt idx="0">
                  <c:v>11.53454107399342</c:v>
                </c:pt>
                <c:pt idx="1">
                  <c:v>15.845804568410324</c:v>
                </c:pt>
                <c:pt idx="2">
                  <c:v>18.385998239355047</c:v>
                </c:pt>
                <c:pt idx="3">
                  <c:v>10.90673215030348</c:v>
                </c:pt>
              </c:numCache>
            </c:numRef>
          </c:val>
          <c:extLst>
            <c:ext xmlns:c16="http://schemas.microsoft.com/office/drawing/2014/chart" uri="{C3380CC4-5D6E-409C-BE32-E72D297353CC}">
              <c16:uniqueId val="{00000002-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Homes</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2/7/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2/7/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2/7/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2/7/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2/7/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2/7/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2/7/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2/7/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2/7/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2/7/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2/7/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2/7/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5EFAB37-C0FB-7B87-780A-589F0D690864}"/>
              </a:ext>
            </a:extLst>
          </p:cNvPr>
          <p:cNvGraphicFramePr>
            <a:graphicFrameLocks noChangeAspect="1"/>
          </p:cNvGraphicFramePr>
          <p:nvPr userDrawn="1">
            <p:custDataLst>
              <p:tags r:id="rId13"/>
            </p:custDataLst>
            <p:extLst>
              <p:ext uri="{D42A27DB-BD31-4B8C-83A1-F6EECF244321}">
                <p14:modId xmlns:p14="http://schemas.microsoft.com/office/powerpoint/2010/main" val="3683088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532" imgH="530" progId="TCLayout.ActiveDocument.1">
                  <p:embed/>
                </p:oleObj>
              </mc:Choice>
              <mc:Fallback>
                <p:oleObj name="think-cell Slide" r:id="rId14" imgW="532" imgH="530" progId="TCLayout.ActiveDocument.1">
                  <p:embed/>
                  <p:pic>
                    <p:nvPicPr>
                      <p:cNvPr id="8" name="Object 7" hidden="1">
                        <a:extLst>
                          <a:ext uri="{FF2B5EF4-FFF2-40B4-BE49-F238E27FC236}">
                            <a16:creationId xmlns:a16="http://schemas.microsoft.com/office/drawing/2014/main" id="{75EFAB37-C0FB-7B87-780A-589F0D690864}"/>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2/7/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xml"/><Relationship Id="rId5" Type="http://schemas.openxmlformats.org/officeDocument/2006/relationships/chart" Target="../charts/chart9.xml"/><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chart" Target="../charts/chart10.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chart" Target="../charts/chart11.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8.png"/><Relationship Id="rId5" Type="http://schemas.openxmlformats.org/officeDocument/2006/relationships/chart" Target="../charts/chart12.xml"/><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chart" Target="../charts/chart13.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chart" Target="../charts/chart14.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chart" Target="../charts/chart15.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chart" Target="../charts/chart16.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chart" Target="../charts/chart17.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chart" Target="../charts/chart18.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chart" Target="../charts/chart19.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chart" Target="../charts/chart20.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chart" Target="../charts/chart21.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chart" Target="../charts/chart22.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chart" Target="../charts/chart23.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chart" Target="../charts/chart24.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chart" Target="../charts/chart25.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chart" Target="../charts/chart26.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chart" Target="../charts/chart27.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chart" Target="../charts/chart28.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chart" Target="../charts/chart29.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chart" Target="../charts/chart30.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chart" Target="../charts/chart6.xml"/><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4.xml"/><Relationship Id="rId5" Type="http://schemas.openxmlformats.org/officeDocument/2006/relationships/chart" Target="../charts/chart7.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754874"/>
          </a:xfrm>
          <a:prstGeom prst="rect">
            <a:avLst/>
          </a:prstGeom>
          <a:noFill/>
        </p:spPr>
        <p:txBody>
          <a:bodyPr wrap="square" rtlCol="0">
            <a:spAutoFit/>
          </a:bodyPr>
          <a:lstStyle/>
          <a:p>
            <a:r>
              <a:rPr lang="en-US" sz="4000" dirty="0">
                <a:solidFill>
                  <a:schemeClr val="bg1"/>
                </a:solidFill>
              </a:rPr>
              <a:t>Kerr-Tar</a:t>
            </a:r>
          </a:p>
          <a:p>
            <a:r>
              <a:rPr lang="en-US" sz="3000" dirty="0">
                <a:solidFill>
                  <a:schemeClr val="bg1"/>
                </a:solidFill>
              </a:rPr>
              <a:t>2021 Regional Digital </a:t>
            </a:r>
          </a:p>
          <a:p>
            <a:r>
              <a:rPr lang="en-US" sz="3000" dirty="0">
                <a:solidFill>
                  <a:schemeClr val="bg1"/>
                </a:solidFill>
              </a:rPr>
              <a:t>Inclusion Profile</a:t>
            </a:r>
          </a:p>
          <a:p>
            <a:endParaRPr lang="en-US" sz="3000" dirty="0">
              <a:solidFill>
                <a:schemeClr val="bg1"/>
              </a:solidFill>
            </a:endParaRPr>
          </a:p>
          <a:p>
            <a:endParaRPr lang="en-US" sz="2000" dirty="0">
              <a:solidFill>
                <a:schemeClr val="bg1"/>
              </a:solidFill>
            </a:endParaRPr>
          </a:p>
          <a:p>
            <a:endParaRPr lang="en-US" sz="2000" dirty="0">
              <a:solidFill>
                <a:schemeClr val="bg1"/>
              </a:solidFill>
            </a:endParaRPr>
          </a:p>
          <a:p>
            <a:endParaRPr lang="en-US" sz="20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10" name="Straight Connector 9">
            <a:extLst>
              <a:ext uri="{FF2B5EF4-FFF2-40B4-BE49-F238E27FC236}">
                <a16:creationId xmlns:a16="http://schemas.microsoft.com/office/drawing/2014/main" id="{13EFA7DF-2E74-6B37-435B-B8B810175C14}"/>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709210095"/>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1750102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vert="horz">
            <a:normAutofit/>
          </a:bodyPr>
          <a:lstStyle/>
          <a:p>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447158280"/>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C133F09C-343C-FA8C-6D94-922636936983}"/>
              </a:ext>
            </a:extLst>
          </p:cNvPr>
          <p:cNvSpPr txBox="1"/>
          <p:nvPr/>
        </p:nvSpPr>
        <p:spPr>
          <a:xfrm>
            <a:off x="245533" y="6400412"/>
            <a:ext cx="10408747" cy="461665"/>
          </a:xfrm>
          <a:prstGeom prst="rect">
            <a:avLst/>
          </a:prstGeom>
          <a:noFill/>
        </p:spPr>
        <p:txBody>
          <a:bodyPr wrap="non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spTree>
    <p:extLst>
      <p:ext uri="{BB962C8B-B14F-4D97-AF65-F5344CB8AC3E}">
        <p14:creationId xmlns:p14="http://schemas.microsoft.com/office/powerpoint/2010/main" val="4737124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Map&#10;&#10;Description automatically generated">
            <a:extLst>
              <a:ext uri="{FF2B5EF4-FFF2-40B4-BE49-F238E27FC236}">
                <a16:creationId xmlns:a16="http://schemas.microsoft.com/office/drawing/2014/main" id="{F62F9F21-8480-5879-42D5-5F985FBE840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7622" y="1028700"/>
            <a:ext cx="7596756" cy="5372100"/>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C00E5955-BE21-17F2-6653-01B391A563F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69490" y="1039982"/>
            <a:ext cx="7576820" cy="5358002"/>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8783B78A-E096-3062-5227-655EC1E5A6D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6590" y="1024554"/>
            <a:ext cx="7602619" cy="5376246"/>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40513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graphicFrame>
        <p:nvGraphicFramePr>
          <p:cNvPr id="8" name="Chart 7">
            <a:extLst>
              <a:ext uri="{FF2B5EF4-FFF2-40B4-BE49-F238E27FC236}">
                <a16:creationId xmlns:a16="http://schemas.microsoft.com/office/drawing/2014/main" id="{D3B2E8D2-9CCD-964A-5CD5-9F743C3CE109}"/>
              </a:ext>
            </a:extLst>
          </p:cNvPr>
          <p:cNvGraphicFramePr/>
          <p:nvPr>
            <p:extLst>
              <p:ext uri="{D42A27DB-BD31-4B8C-83A1-F6EECF244321}">
                <p14:modId xmlns:p14="http://schemas.microsoft.com/office/powerpoint/2010/main" val="1104914769"/>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pic>
        <p:nvPicPr>
          <p:cNvPr id="6" name="Picture 5" descr="Map&#10;&#10;Description automatically generated">
            <a:extLst>
              <a:ext uri="{FF2B5EF4-FFF2-40B4-BE49-F238E27FC236}">
                <a16:creationId xmlns:a16="http://schemas.microsoft.com/office/drawing/2014/main" id="{A3EA4A4C-BCA1-8FDA-D1FD-FA05E8298BD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0"/>
            <a:ext cx="7239000" cy="5119111"/>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40513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graphicFrame>
        <p:nvGraphicFramePr>
          <p:cNvPr id="8" name="Chart 7">
            <a:extLst>
              <a:ext uri="{FF2B5EF4-FFF2-40B4-BE49-F238E27FC236}">
                <a16:creationId xmlns:a16="http://schemas.microsoft.com/office/drawing/2014/main" id="{D3B2E8D2-9CCD-964A-5CD5-9F743C3CE109}"/>
              </a:ext>
            </a:extLst>
          </p:cNvPr>
          <p:cNvGraphicFramePr/>
          <p:nvPr>
            <p:extLst>
              <p:ext uri="{D42A27DB-BD31-4B8C-83A1-F6EECF244321}">
                <p14:modId xmlns:p14="http://schemas.microsoft.com/office/powerpoint/2010/main" val="109188907"/>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pic>
        <p:nvPicPr>
          <p:cNvPr id="6" name="Picture 5" descr="Map&#10;&#10;Description automatically generated">
            <a:extLst>
              <a:ext uri="{FF2B5EF4-FFF2-40B4-BE49-F238E27FC236}">
                <a16:creationId xmlns:a16="http://schemas.microsoft.com/office/drawing/2014/main" id="{F008FCD4-DAD8-C43A-D838-476BF79AE0E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399" y="1155000"/>
            <a:ext cx="7239001" cy="5119111"/>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7EAAF7B-280C-3784-2092-B19FC599496E}"/>
              </a:ext>
            </a:extLst>
          </p:cNvPr>
          <p:cNvGraphicFramePr>
            <a:graphicFrameLocks noChangeAspect="1"/>
          </p:cNvGraphicFramePr>
          <p:nvPr>
            <p:custDataLst>
              <p:tags r:id="rId1"/>
            </p:custDataLst>
            <p:extLst>
              <p:ext uri="{D42A27DB-BD31-4B8C-83A1-F6EECF244321}">
                <p14:modId xmlns:p14="http://schemas.microsoft.com/office/powerpoint/2010/main" val="26148970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8" name="Object 7" hidden="1">
                        <a:extLst>
                          <a:ext uri="{FF2B5EF4-FFF2-40B4-BE49-F238E27FC236}">
                            <a16:creationId xmlns:a16="http://schemas.microsoft.com/office/drawing/2014/main" id="{57EAAF7B-280C-3784-2092-B19FC599496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vert="horz">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222505077"/>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AF651823-818E-912D-E331-CDEB914505A8}"/>
              </a:ext>
            </a:extLst>
          </p:cNvPr>
          <p:cNvSpPr txBox="1"/>
          <p:nvPr/>
        </p:nvSpPr>
        <p:spPr>
          <a:xfrm>
            <a:off x="245533" y="6400412"/>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a:t>
            </a:r>
            <a:r>
              <a:rPr lang="en-US" sz="1200"/>
              <a:t>per square mile</a:t>
            </a:r>
            <a:endParaRPr lang="en-US" sz="1200" dirty="0"/>
          </a:p>
        </p:txBody>
      </p:sp>
      <p:pic>
        <p:nvPicPr>
          <p:cNvPr id="7" name="Picture 6" descr="Map&#10;&#10;Description automatically generated">
            <a:extLst>
              <a:ext uri="{FF2B5EF4-FFF2-40B4-BE49-F238E27FC236}">
                <a16:creationId xmlns:a16="http://schemas.microsoft.com/office/drawing/2014/main" id="{01831CE0-3306-7644-F88B-5DEC70FB0C9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724400" y="1152749"/>
            <a:ext cx="7239000" cy="5119111"/>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3160497786"/>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Chart&#10;&#10;Description automatically generated with medium confidence">
            <a:extLst>
              <a:ext uri="{FF2B5EF4-FFF2-40B4-BE49-F238E27FC236}">
                <a16:creationId xmlns:a16="http://schemas.microsoft.com/office/drawing/2014/main" id="{A0949407-F65E-DBD8-37FA-DAF9B709C4A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0"/>
            <a:ext cx="7239000" cy="5119111"/>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3680527275"/>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A picture containing diagram&#10;&#10;Description automatically generated">
            <a:extLst>
              <a:ext uri="{FF2B5EF4-FFF2-40B4-BE49-F238E27FC236}">
                <a16:creationId xmlns:a16="http://schemas.microsoft.com/office/drawing/2014/main" id="{475C80D9-EDDD-5480-F831-712110FB2C9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1"/>
            <a:ext cx="7239000" cy="5119110"/>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color).</a:t>
            </a:r>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0).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55837036"/>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Diagram&#10;&#10;Description automatically generated with low confidence">
            <a:extLst>
              <a:ext uri="{FF2B5EF4-FFF2-40B4-BE49-F238E27FC236}">
                <a16:creationId xmlns:a16="http://schemas.microsoft.com/office/drawing/2014/main" id="{F8975853-83FE-ACB3-00B5-94FC8D52800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2751"/>
            <a:ext cx="7239000" cy="5119111"/>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4034197617"/>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Map&#10;&#10;Description automatically generated">
            <a:extLst>
              <a:ext uri="{FF2B5EF4-FFF2-40B4-BE49-F238E27FC236}">
                <a16:creationId xmlns:a16="http://schemas.microsoft.com/office/drawing/2014/main" id="{8D434528-539D-C97C-ECEE-B126BEE65F7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1" y="1150751"/>
            <a:ext cx="7239000" cy="5119110"/>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1944195186"/>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Map&#10;&#10;Description automatically generated with medium confidence">
            <a:extLst>
              <a:ext uri="{FF2B5EF4-FFF2-40B4-BE49-F238E27FC236}">
                <a16:creationId xmlns:a16="http://schemas.microsoft.com/office/drawing/2014/main" id="{B4502745-FB5D-7513-0F17-9B2D3489D7F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0"/>
            <a:ext cx="7239000" cy="5119111"/>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95155865"/>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Map&#10;&#10;Description automatically generated">
            <a:extLst>
              <a:ext uri="{FF2B5EF4-FFF2-40B4-BE49-F238E27FC236}">
                <a16:creationId xmlns:a16="http://schemas.microsoft.com/office/drawing/2014/main" id="{1028A14C-4417-44AF-ACA8-F61BBECD142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0"/>
            <a:ext cx="7239000" cy="5119111"/>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1385993279"/>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Diagram, map&#10;&#10;Description automatically generated">
            <a:extLst>
              <a:ext uri="{FF2B5EF4-FFF2-40B4-BE49-F238E27FC236}">
                <a16:creationId xmlns:a16="http://schemas.microsoft.com/office/drawing/2014/main" id="{C5E1E78C-2FDB-681C-1389-1E235E3F950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0134"/>
            <a:ext cx="7252764" cy="5128843"/>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82538120"/>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Map&#10;&#10;Description automatically generated">
            <a:extLst>
              <a:ext uri="{FF2B5EF4-FFF2-40B4-BE49-F238E27FC236}">
                <a16:creationId xmlns:a16="http://schemas.microsoft.com/office/drawing/2014/main" id="{28BDC168-7160-3C58-F722-AB78B3D0BD3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1"/>
            <a:ext cx="7239000" cy="5119110"/>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769798268"/>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A picture containing diagram&#10;&#10;Description automatically generated">
            <a:extLst>
              <a:ext uri="{FF2B5EF4-FFF2-40B4-BE49-F238E27FC236}">
                <a16:creationId xmlns:a16="http://schemas.microsoft.com/office/drawing/2014/main" id="{7ED21A6B-473E-9465-383A-3921B8C23BE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32704" y="1155001"/>
            <a:ext cx="7239000" cy="5119110"/>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358356929"/>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Map&#10;&#10;Description automatically generated with medium confidence">
            <a:extLst>
              <a:ext uri="{FF2B5EF4-FFF2-40B4-BE49-F238E27FC236}">
                <a16:creationId xmlns:a16="http://schemas.microsoft.com/office/drawing/2014/main" id="{7FF4B99B-DBD3-B8AA-E947-1A0DA958457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33066" y="1149847"/>
            <a:ext cx="7253574" cy="5129417"/>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677095012"/>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11165942" cy="461665"/>
          </a:xfrm>
          <a:prstGeom prst="rect">
            <a:avLst/>
          </a:prstGeom>
          <a:noFill/>
        </p:spPr>
        <p:txBody>
          <a:bodyPr wrap="non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5" name="Picture 4" descr="Map&#10;&#10;Description automatically generated">
            <a:extLst>
              <a:ext uri="{FF2B5EF4-FFF2-40B4-BE49-F238E27FC236}">
                <a16:creationId xmlns:a16="http://schemas.microsoft.com/office/drawing/2014/main" id="{69CF13D3-60D5-1060-F552-408D2051F5A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32705" y="1155001"/>
            <a:ext cx="7239000" cy="5119110"/>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1455047848"/>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sp>
        <p:nvSpPr>
          <p:cNvPr id="5" name="TextBox 4">
            <a:extLst>
              <a:ext uri="{FF2B5EF4-FFF2-40B4-BE49-F238E27FC236}">
                <a16:creationId xmlns:a16="http://schemas.microsoft.com/office/drawing/2014/main" id="{AD271B2F-57B1-DDF3-844C-402D53D67F69}"/>
              </a:ext>
            </a:extLst>
          </p:cNvPr>
          <p:cNvSpPr txBox="1"/>
          <p:nvPr/>
        </p:nvSpPr>
        <p:spPr>
          <a:xfrm>
            <a:off x="245533" y="6400412"/>
            <a:ext cx="10408747" cy="461665"/>
          </a:xfrm>
          <a:prstGeom prst="rect">
            <a:avLst/>
          </a:prstGeom>
          <a:noFill/>
        </p:spPr>
        <p:txBody>
          <a:bodyPr wrap="non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8" name="Picture 7" descr="Map&#10;&#10;Description automatically generated">
            <a:extLst>
              <a:ext uri="{FF2B5EF4-FFF2-40B4-BE49-F238E27FC236}">
                <a16:creationId xmlns:a16="http://schemas.microsoft.com/office/drawing/2014/main" id="{CED1A025-A5E6-E98F-C378-8111305D32B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0"/>
            <a:ext cx="7239000" cy="5119111"/>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Total Population Trends: 1990 - 2021</a:t>
            </a:r>
          </a:p>
        </p:txBody>
      </p:sp>
      <p:graphicFrame>
        <p:nvGraphicFramePr>
          <p:cNvPr id="7" name="Content Placeholder 6">
            <a:extLst>
              <a:ext uri="{FF2B5EF4-FFF2-40B4-BE49-F238E27FC236}">
                <a16:creationId xmlns:a16="http://schemas.microsoft.com/office/drawing/2014/main" id="{9B61CC2F-17D9-E6A9-D1A8-11B47E6F047B}"/>
              </a:ext>
            </a:extLst>
          </p:cNvPr>
          <p:cNvGraphicFramePr>
            <a:graphicFrameLocks noGrp="1"/>
          </p:cNvGraphicFramePr>
          <p:nvPr>
            <p:ph idx="1"/>
            <p:extLst>
              <p:ext uri="{D42A27DB-BD31-4B8C-83A1-F6EECF244321}">
                <p14:modId xmlns:p14="http://schemas.microsoft.com/office/powerpoint/2010/main" val="1653942233"/>
              </p:ext>
            </p:extLst>
          </p:nvPr>
        </p:nvGraphicFramePr>
        <p:xfrm>
          <a:off x="245533" y="1310584"/>
          <a:ext cx="11671300" cy="4866379"/>
        </p:xfrm>
        <a:graphic>
          <a:graphicData uri="http://schemas.openxmlformats.org/drawingml/2006/chart">
            <c:chart xmlns:c="http://schemas.openxmlformats.org/drawingml/2006/chart" xmlns:r="http://schemas.openxmlformats.org/officeDocument/2006/relationships" r:id="rId2"/>
          </a:graphicData>
        </a:graphic>
      </p:graphicFrame>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308079"/>
            <a:ext cx="2478243" cy="461665"/>
          </a:xfrm>
          <a:prstGeom prst="rect">
            <a:avLst/>
          </a:prstGeom>
          <a:noFill/>
        </p:spPr>
        <p:txBody>
          <a:bodyPr wrap="none" rtlCol="0">
            <a:spAutoFit/>
          </a:bodyPr>
          <a:lstStyle/>
          <a:p>
            <a:r>
              <a:rPr lang="en-US" sz="1200" dirty="0"/>
              <a:t>Source: Census Population Estimates</a:t>
            </a:r>
          </a:p>
          <a:p>
            <a:r>
              <a:rPr lang="en-US" sz="1200" dirty="0"/>
              <a:t>Note: 1990 = 1</a:t>
            </a:r>
          </a:p>
        </p:txBody>
      </p:sp>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2812575746"/>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sp>
        <p:nvSpPr>
          <p:cNvPr id="9" name="TextBox 8">
            <a:extLst>
              <a:ext uri="{FF2B5EF4-FFF2-40B4-BE49-F238E27FC236}">
                <a16:creationId xmlns:a16="http://schemas.microsoft.com/office/drawing/2014/main" id="{7186EF87-E728-D13E-4ADB-699D1D4C3197}"/>
              </a:ext>
            </a:extLst>
          </p:cNvPr>
          <p:cNvSpPr txBox="1"/>
          <p:nvPr/>
        </p:nvSpPr>
        <p:spPr>
          <a:xfrm>
            <a:off x="245533" y="6400412"/>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7" name="Picture 6" descr="Chart&#10;&#10;Description automatically generated">
            <a:extLst>
              <a:ext uri="{FF2B5EF4-FFF2-40B4-BE49-F238E27FC236}">
                <a16:creationId xmlns:a16="http://schemas.microsoft.com/office/drawing/2014/main" id="{74117F0B-2469-95E4-7E0C-A1F0CA70CD2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0857" y="1153748"/>
            <a:ext cx="7242543" cy="5121616"/>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180589"/>
            <a:ext cx="11671300" cy="1129995"/>
          </a:xfrm>
        </p:spPr>
        <p:txBody>
          <a:bodyPr>
            <a:normAutofit/>
          </a:bodyPr>
          <a:lstStyle/>
          <a:p>
            <a:r>
              <a:rPr lang="en-US" sz="3400"/>
              <a:t>Avg. Microbusiness </a:t>
            </a:r>
            <a:r>
              <a:rPr lang="en-US" sz="3400" dirty="0"/>
              <a:t>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423164" cy="276999"/>
          </a:xfrm>
          <a:prstGeom prst="rect">
            <a:avLst/>
          </a:prstGeom>
          <a:noFill/>
        </p:spPr>
        <p:txBody>
          <a:bodyPr wrap="none" rtlCol="0">
            <a:spAutoFit/>
          </a:bodyPr>
          <a:lstStyle/>
          <a:p>
            <a:r>
              <a:rPr lang="en-US" sz="1200" dirty="0"/>
              <a:t>Source: GoDaddy Venture Forward </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1425068071"/>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a:t>
            </a:r>
            <a:r>
              <a:rPr lang="en-US" sz="1200"/>
              <a:t>: 2017-2021 </a:t>
            </a:r>
            <a:r>
              <a:rPr lang="en-US" sz="1200" dirty="0"/>
              <a:t>Census 5-Year AC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366635696"/>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136525"/>
            <a:ext cx="11671300" cy="1174059"/>
          </a:xfrm>
        </p:spPr>
        <p:txBody>
          <a:bodyPr>
            <a:normAutofit/>
          </a:bodyPr>
          <a:lstStyle/>
          <a:p>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371468094"/>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
        <p:nvSpPr>
          <p:cNvPr id="9" name="TextBox 8">
            <a:extLst>
              <a:ext uri="{FF2B5EF4-FFF2-40B4-BE49-F238E27FC236}">
                <a16:creationId xmlns:a16="http://schemas.microsoft.com/office/drawing/2014/main" id="{EB4CC4F6-2F6B-8AF9-8151-CB2C0FF4BAC4}"/>
              </a:ext>
            </a:extLst>
          </p:cNvPr>
          <p:cNvSpPr txBox="1"/>
          <p:nvPr/>
        </p:nvSpPr>
        <p:spPr>
          <a:xfrm>
            <a:off x="3515749" y="2958657"/>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600" b="1" dirty="0"/>
              <a:t>25.7</a:t>
            </a:r>
            <a:endParaRPr lang="en-US" sz="1200" b="1" dirty="0"/>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957986" y="4496052"/>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957986" y="1990725"/>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p:cNvCxnSpPr>
          <p:nvPr/>
        </p:nvCxnSpPr>
        <p:spPr>
          <a:xfrm>
            <a:off x="4114823" y="1990725"/>
            <a:ext cx="0" cy="75134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p:cNvCxnSpPr>
          <p:nvPr/>
        </p:nvCxnSpPr>
        <p:spPr>
          <a:xfrm>
            <a:off x="4114823" y="3879403"/>
            <a:ext cx="0" cy="610949"/>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420A225E-A640-906C-A470-552759842A43}"/>
              </a:ext>
            </a:extLst>
          </p:cNvPr>
          <p:cNvSpPr txBox="1"/>
          <p:nvPr/>
        </p:nvSpPr>
        <p:spPr>
          <a:xfrm>
            <a:off x="7023871" y="288783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600" b="1" dirty="0"/>
              <a:t>22.5</a:t>
            </a:r>
            <a:endParaRPr lang="en-US" sz="1200" b="1" dirty="0"/>
          </a:p>
        </p:txBody>
      </p:sp>
      <p:cxnSp>
        <p:nvCxnSpPr>
          <p:cNvPr id="17" name="Straight Connector 16">
            <a:extLst>
              <a:ext uri="{FF2B5EF4-FFF2-40B4-BE49-F238E27FC236}">
                <a16:creationId xmlns:a16="http://schemas.microsoft.com/office/drawing/2014/main" id="{26BD209E-6819-82CB-9B59-E03611EAC1FC}"/>
              </a:ext>
            </a:extLst>
          </p:cNvPr>
          <p:cNvCxnSpPr/>
          <p:nvPr/>
        </p:nvCxnSpPr>
        <p:spPr>
          <a:xfrm>
            <a:off x="7472343" y="443729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8736966-F272-CC1E-CA8B-886785B2B5EB}"/>
              </a:ext>
            </a:extLst>
          </p:cNvPr>
          <p:cNvCxnSpPr/>
          <p:nvPr/>
        </p:nvCxnSpPr>
        <p:spPr>
          <a:xfrm>
            <a:off x="7469398" y="2247805"/>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10587E0-05D3-43D7-B764-184E1AB6C561}"/>
              </a:ext>
            </a:extLst>
          </p:cNvPr>
          <p:cNvCxnSpPr>
            <a:cxnSpLocks/>
          </p:cNvCxnSpPr>
          <p:nvPr/>
        </p:nvCxnSpPr>
        <p:spPr>
          <a:xfrm>
            <a:off x="7622945" y="2247805"/>
            <a:ext cx="0" cy="64068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FC1B3BE-8F7B-FCC3-C3CB-625A8A3E620F}"/>
              </a:ext>
            </a:extLst>
          </p:cNvPr>
          <p:cNvCxnSpPr>
            <a:cxnSpLocks/>
          </p:cNvCxnSpPr>
          <p:nvPr/>
        </p:nvCxnSpPr>
        <p:spPr>
          <a:xfrm>
            <a:off x="7622945" y="3780388"/>
            <a:ext cx="0" cy="62832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9A68ADBE-AECC-EE60-7E94-3675B33E08AE}"/>
              </a:ext>
            </a:extLst>
          </p:cNvPr>
          <p:cNvSpPr txBox="1"/>
          <p:nvPr/>
        </p:nvSpPr>
        <p:spPr>
          <a:xfrm>
            <a:off x="10554679" y="3184663"/>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600" b="1" dirty="0"/>
              <a:t>21.7</a:t>
            </a:r>
            <a:endParaRPr lang="en-US" sz="1200" b="1" dirty="0"/>
          </a:p>
        </p:txBody>
      </p:sp>
      <p:cxnSp>
        <p:nvCxnSpPr>
          <p:cNvPr id="22" name="Straight Connector 21">
            <a:extLst>
              <a:ext uri="{FF2B5EF4-FFF2-40B4-BE49-F238E27FC236}">
                <a16:creationId xmlns:a16="http://schemas.microsoft.com/office/drawing/2014/main" id="{1B423FA0-E4B3-6570-929B-A9283D503787}"/>
              </a:ext>
            </a:extLst>
          </p:cNvPr>
          <p:cNvCxnSpPr/>
          <p:nvPr/>
        </p:nvCxnSpPr>
        <p:spPr>
          <a:xfrm>
            <a:off x="10987391" y="4706965"/>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616797E-0044-3804-BA5A-23B8EB309CA5}"/>
              </a:ext>
            </a:extLst>
          </p:cNvPr>
          <p:cNvCxnSpPr/>
          <p:nvPr/>
        </p:nvCxnSpPr>
        <p:spPr>
          <a:xfrm>
            <a:off x="10996916" y="2616361"/>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0A6256E-6780-BAE0-B803-D02FE024579F}"/>
              </a:ext>
            </a:extLst>
          </p:cNvPr>
          <p:cNvCxnSpPr>
            <a:cxnSpLocks/>
          </p:cNvCxnSpPr>
          <p:nvPr/>
        </p:nvCxnSpPr>
        <p:spPr>
          <a:xfrm>
            <a:off x="11144228" y="2627817"/>
            <a:ext cx="0" cy="53574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2B7492E-2C75-E0CD-947E-C582F412F7D7}"/>
              </a:ext>
            </a:extLst>
          </p:cNvPr>
          <p:cNvCxnSpPr>
            <a:cxnSpLocks/>
          </p:cNvCxnSpPr>
          <p:nvPr/>
        </p:nvCxnSpPr>
        <p:spPr>
          <a:xfrm>
            <a:off x="11144228" y="4139651"/>
            <a:ext cx="0" cy="560605"/>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AADBAC77-8094-925B-9C83-2132E5A4A84C}"/>
              </a:ext>
            </a:extLst>
          </p:cNvPr>
          <p:cNvSpPr txBox="1"/>
          <p:nvPr/>
        </p:nvSpPr>
        <p:spPr>
          <a:xfrm>
            <a:off x="245533" y="6200269"/>
            <a:ext cx="4026127" cy="646331"/>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69735" y="6200269"/>
            <a:ext cx="5977813" cy="646331"/>
          </a:xfrm>
          <a:prstGeom prst="rect">
            <a:avLst/>
          </a:prstGeom>
          <a:noFill/>
        </p:spPr>
        <p:txBody>
          <a:bodyPr wrap="square" rtlCol="0">
            <a:spAutoFit/>
          </a:bodyPr>
          <a:lstStyle/>
          <a:p>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spTree>
    <p:extLst>
      <p:ext uri="{BB962C8B-B14F-4D97-AF65-F5344CB8AC3E}">
        <p14:creationId xmlns:p14="http://schemas.microsoft.com/office/powerpoint/2010/main" val="51340989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356350"/>
            <a:ext cx="3078692" cy="276999"/>
          </a:xfrm>
          <a:prstGeom prst="rect">
            <a:avLst/>
          </a:prstGeom>
          <a:noFill/>
        </p:spPr>
        <p:txBody>
          <a:bodyPr wrap="square" rtlCol="0">
            <a:spAutoFit/>
          </a:bodyPr>
          <a:lstStyle/>
          <a:p>
            <a:r>
              <a:rPr lang="en-US" sz="1200" dirty="0"/>
              <a:t>Source: Lightcast; Bureau of Economic Analysi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2272448465"/>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06088BFF-E008-7036-06DC-C79AACE6A6EF}"/>
              </a:ext>
            </a:extLst>
          </p:cNvPr>
          <p:cNvSpPr txBox="1"/>
          <p:nvPr/>
        </p:nvSpPr>
        <p:spPr>
          <a:xfrm>
            <a:off x="3515932" y="6259810"/>
            <a:ext cx="6466268" cy="461665"/>
          </a:xfrm>
          <a:prstGeom prst="rect">
            <a:avLst/>
          </a:prstGeom>
          <a:noFill/>
        </p:spPr>
        <p:txBody>
          <a:bodyPr wrap="square" rtlCol="0">
            <a:spAutoFit/>
          </a:bodyPr>
          <a:lstStyle/>
          <a:p>
            <a:r>
              <a:rPr lang="en-US" sz="1200" dirty="0"/>
              <a:t>*Includes 44 industries considered to be “fully” part of the digital economy ranging from hardware &amp; software to data processing; does not include warehousing or retail associated with e-commerce</a:t>
            </a:r>
          </a:p>
        </p:txBody>
      </p:sp>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1928926" cy="276999"/>
          </a:xfrm>
          <a:prstGeom prst="rect">
            <a:avLst/>
          </a:prstGeom>
          <a:noFill/>
        </p:spPr>
        <p:txBody>
          <a:bodyPr wrap="none" rtlCol="0">
            <a:spAutoFit/>
          </a:bodyPr>
          <a:lstStyle/>
          <a:p>
            <a:r>
              <a:rPr lang="en-US" sz="1200" dirty="0"/>
              <a:t>Source: Lightcast; Brooking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4125195029"/>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ontent Placeholder 6">
            <a:extLst>
              <a:ext uri="{FF2B5EF4-FFF2-40B4-BE49-F238E27FC236}">
                <a16:creationId xmlns:a16="http://schemas.microsoft.com/office/drawing/2014/main" id="{A966EEC7-83EF-771C-E559-BAB55F5A621C}"/>
              </a:ext>
            </a:extLst>
          </p:cNvPr>
          <p:cNvGraphicFramePr>
            <a:graphicFrameLocks/>
          </p:cNvGraphicFramePr>
          <p:nvPr>
            <p:extLst>
              <p:ext uri="{D42A27DB-BD31-4B8C-83A1-F6EECF244321}">
                <p14:modId xmlns:p14="http://schemas.microsoft.com/office/powerpoint/2010/main" val="432085091"/>
              </p:ext>
            </p:extLst>
          </p:nvPr>
        </p:nvGraphicFramePr>
        <p:xfrm>
          <a:off x="245533" y="1310584"/>
          <a:ext cx="11671300" cy="4866379"/>
        </p:xfrm>
        <a:graphic>
          <a:graphicData uri="http://schemas.openxmlformats.org/drawingml/2006/chart">
            <c:chart xmlns:c="http://schemas.openxmlformats.org/drawingml/2006/chart" xmlns:r="http://schemas.openxmlformats.org/officeDocument/2006/relationships" r:id="rId2"/>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graphicFrame>
        <p:nvGraphicFramePr>
          <p:cNvPr id="9" name="Content Placeholder 6">
            <a:extLst>
              <a:ext uri="{FF2B5EF4-FFF2-40B4-BE49-F238E27FC236}">
                <a16:creationId xmlns:a16="http://schemas.microsoft.com/office/drawing/2014/main" id="{BF6DEC76-8E72-6168-70C1-6709AC56F21B}"/>
              </a:ext>
            </a:extLst>
          </p:cNvPr>
          <p:cNvGraphicFramePr>
            <a:graphicFrameLocks noGrp="1"/>
          </p:cNvGraphicFramePr>
          <p:nvPr>
            <p:ph idx="1"/>
            <p:extLst>
              <p:ext uri="{D42A27DB-BD31-4B8C-83A1-F6EECF244321}">
                <p14:modId xmlns:p14="http://schemas.microsoft.com/office/powerpoint/2010/main" val="4025270454"/>
              </p:ext>
            </p:extLst>
          </p:nvPr>
        </p:nvGraphicFramePr>
        <p:xfrm>
          <a:off x="245533" y="1310584"/>
          <a:ext cx="11671300" cy="486637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Educational Attainment: Percent Population 25 or Older</a:t>
            </a:r>
          </a:p>
        </p:txBody>
      </p:sp>
      <p:graphicFrame>
        <p:nvGraphicFramePr>
          <p:cNvPr id="7" name="Content Placeholder 6">
            <a:extLst>
              <a:ext uri="{FF2B5EF4-FFF2-40B4-BE49-F238E27FC236}">
                <a16:creationId xmlns:a16="http://schemas.microsoft.com/office/drawing/2014/main" id="{9B61CC2F-17D9-E6A9-D1A8-11B47E6F047B}"/>
              </a:ext>
            </a:extLst>
          </p:cNvPr>
          <p:cNvGraphicFramePr>
            <a:graphicFrameLocks noGrp="1"/>
          </p:cNvGraphicFramePr>
          <p:nvPr>
            <p:ph idx="1"/>
            <p:extLst>
              <p:ext uri="{D42A27DB-BD31-4B8C-83A1-F6EECF244321}">
                <p14:modId xmlns:p14="http://schemas.microsoft.com/office/powerpoint/2010/main" val="2406306307"/>
              </p:ext>
            </p:extLst>
          </p:nvPr>
        </p:nvGraphicFramePr>
        <p:xfrm>
          <a:off x="245533" y="1310584"/>
          <a:ext cx="11671300" cy="4866379"/>
        </p:xfrm>
        <a:graphic>
          <a:graphicData uri="http://schemas.openxmlformats.org/drawingml/2006/chart">
            <c:chart xmlns:c="http://schemas.openxmlformats.org/drawingml/2006/chart" xmlns:r="http://schemas.openxmlformats.org/officeDocument/2006/relationships" r:id="rId2"/>
          </a:graphicData>
        </a:graphic>
      </p:graphicFrame>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3170771638"/>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vert="horz">
            <a:normAutofit/>
          </a:bodyPr>
          <a:lstStyle/>
          <a:p>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2468110884"/>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416288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vert="horz">
            <a:normAutofit/>
          </a:bodyPr>
          <a:lstStyle/>
          <a:p>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303728021"/>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840763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750</TotalTime>
  <Words>1476</Words>
  <Application>Microsoft Office PowerPoint</Application>
  <PresentationFormat>Widescreen</PresentationFormat>
  <Paragraphs>144</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1</cp:revision>
  <dcterms:created xsi:type="dcterms:W3CDTF">2022-07-04T13:32:28Z</dcterms:created>
  <dcterms:modified xsi:type="dcterms:W3CDTF">2023-02-07T23:52:31Z</dcterms:modified>
</cp:coreProperties>
</file>